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Lst>
  <p:sldIdLst>
    <p:sldId id="256" r:id="rId2"/>
    <p:sldId id="257" r:id="rId3"/>
    <p:sldId id="258" r:id="rId4"/>
    <p:sldId id="259" r:id="rId5"/>
    <p:sldId id="261" r:id="rId6"/>
    <p:sldId id="262" r:id="rId7"/>
    <p:sldId id="263" r:id="rId8"/>
    <p:sldId id="264" r:id="rId9"/>
    <p:sldId id="266" r:id="rId10"/>
    <p:sldId id="267" r:id="rId11"/>
    <p:sldId id="269" r:id="rId12"/>
    <p:sldId id="270" r:id="rId13"/>
    <p:sldId id="271" r:id="rId14"/>
    <p:sldId id="272" r:id="rId15"/>
    <p:sldId id="273" r:id="rId16"/>
    <p:sldId id="274" r:id="rId17"/>
    <p:sldId id="276" r:id="rId18"/>
    <p:sldId id="277" r:id="rId19"/>
    <p:sldId id="278" r:id="rId20"/>
    <p:sldId id="279" r:id="rId21"/>
    <p:sldId id="280" r:id="rId22"/>
    <p:sldId id="281" r:id="rId23"/>
    <p:sldId id="282" r:id="rId24"/>
    <p:sldId id="283" r:id="rId25"/>
    <p:sldId id="284" r:id="rId26"/>
    <p:sldId id="285" r:id="rId27"/>
    <p:sldId id="286" r:id="rId28"/>
    <p:sldId id="288" r:id="rId29"/>
    <p:sldId id="290" r:id="rId30"/>
    <p:sldId id="291" r:id="rId31"/>
    <p:sldId id="292" r:id="rId32"/>
    <p:sldId id="293" r:id="rId33"/>
    <p:sldId id="295" r:id="rId34"/>
    <p:sldId id="296" r:id="rId35"/>
    <p:sldId id="297" r:id="rId36"/>
    <p:sldId id="298" r:id="rId37"/>
    <p:sldId id="299" r:id="rId38"/>
    <p:sldId id="300" r:id="rId39"/>
    <p:sldId id="301" r:id="rId40"/>
    <p:sldId id="302" r:id="rId41"/>
    <p:sldId id="303" r:id="rId42"/>
    <p:sldId id="304" r:id="rId43"/>
    <p:sldId id="305" r:id="rId44"/>
    <p:sldId id="306" r:id="rId45"/>
    <p:sldId id="307" r:id="rId46"/>
    <p:sldId id="308" r:id="rId47"/>
    <p:sldId id="309" r:id="rId48"/>
    <p:sldId id="310" r:id="rId49"/>
    <p:sldId id="311" r:id="rId50"/>
    <p:sldId id="312" r:id="rId51"/>
    <p:sldId id="314" r:id="rId52"/>
    <p:sldId id="315" r:id="rId53"/>
    <p:sldId id="316" r:id="rId54"/>
    <p:sldId id="317" r:id="rId55"/>
    <p:sldId id="318" r:id="rId56"/>
    <p:sldId id="319" r:id="rId57"/>
    <p:sldId id="320" r:id="rId58"/>
    <p:sldId id="321" r:id="rId59"/>
    <p:sldId id="322" r:id="rId60"/>
    <p:sldId id="323" r:id="rId61"/>
    <p:sldId id="324" r:id="rId62"/>
    <p:sldId id="325" r:id="rId63"/>
    <p:sldId id="326" r:id="rId64"/>
    <p:sldId id="327" r:id="rId65"/>
    <p:sldId id="328" r:id="rId66"/>
    <p:sldId id="329" r:id="rId67"/>
    <p:sldId id="330" r:id="rId68"/>
    <p:sldId id="331" r:id="rId69"/>
    <p:sldId id="332" r:id="rId70"/>
    <p:sldId id="333" r:id="rId71"/>
    <p:sldId id="334" r:id="rId72"/>
    <p:sldId id="336" r:id="rId73"/>
    <p:sldId id="337" r:id="rId74"/>
    <p:sldId id="338" r:id="rId75"/>
    <p:sldId id="339" r:id="rId76"/>
    <p:sldId id="340" r:id="rId77"/>
    <p:sldId id="341" r:id="rId78"/>
    <p:sldId id="342" r:id="rId79"/>
    <p:sldId id="343" r:id="rId80"/>
    <p:sldId id="344" r:id="rId81"/>
    <p:sldId id="345" r:id="rId82"/>
    <p:sldId id="346" r:id="rId83"/>
    <p:sldId id="347" r:id="rId84"/>
    <p:sldId id="348" r:id="rId85"/>
    <p:sldId id="349" r:id="rId86"/>
    <p:sldId id="350" r:id="rId87"/>
    <p:sldId id="351" r:id="rId88"/>
    <p:sldId id="352" r:id="rId89"/>
    <p:sldId id="353" r:id="rId90"/>
    <p:sldId id="354" r:id="rId91"/>
    <p:sldId id="355" r:id="rId92"/>
    <p:sldId id="356" r:id="rId93"/>
    <p:sldId id="357" r:id="rId94"/>
    <p:sldId id="358" r:id="rId95"/>
    <p:sldId id="359" r:id="rId96"/>
    <p:sldId id="360" r:id="rId97"/>
    <p:sldId id="361" r:id="rId98"/>
    <p:sldId id="362" r:id="rId99"/>
    <p:sldId id="363" r:id="rId100"/>
    <p:sldId id="364" r:id="rId101"/>
    <p:sldId id="365" r:id="rId102"/>
    <p:sldId id="366" r:id="rId103"/>
    <p:sldId id="367" r:id="rId104"/>
    <p:sldId id="368" r:id="rId105"/>
    <p:sldId id="369" r:id="rId106"/>
    <p:sldId id="370" r:id="rId107"/>
    <p:sldId id="371" r:id="rId108"/>
    <p:sldId id="372" r:id="rId109"/>
    <p:sldId id="373" r:id="rId110"/>
    <p:sldId id="374" r:id="rId111"/>
    <p:sldId id="375" r:id="rId112"/>
    <p:sldId id="376" r:id="rId113"/>
    <p:sldId id="377" r:id="rId114"/>
    <p:sldId id="378" r:id="rId115"/>
    <p:sldId id="379" r:id="rId116"/>
    <p:sldId id="380" r:id="rId117"/>
    <p:sldId id="381" r:id="rId118"/>
    <p:sldId id="382" r:id="rId119"/>
    <p:sldId id="383" r:id="rId120"/>
    <p:sldId id="384" r:id="rId121"/>
    <p:sldId id="385" r:id="rId1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7" d="100"/>
          <a:sy n="87" d="100"/>
        </p:scale>
        <p:origin x="-1464" y="-8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presProps" Target="presProp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viewProps" Target="viewProp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 L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400"/>
            </a:lvl1pPr>
          </a:lstStyle>
          <a:p>
            <a:r>
              <a:rPr lang="en-US" dirty="0" smtClean="0"/>
              <a:t>Click to Edit Master Title</a:t>
            </a:r>
            <a:endParaRPr lang="en-US" dirty="0"/>
          </a:p>
        </p:txBody>
      </p:sp>
      <p:sp>
        <p:nvSpPr>
          <p:cNvPr id="7" name="Text Placeholder 6"/>
          <p:cNvSpPr>
            <a:spLocks noGrp="1"/>
          </p:cNvSpPr>
          <p:nvPr>
            <p:ph type="body" sz="quarter" idx="10"/>
          </p:nvPr>
        </p:nvSpPr>
        <p:spPr>
          <a:xfrm>
            <a:off x="457200" y="838200"/>
            <a:ext cx="8229600" cy="609600"/>
          </a:xfrm>
          <a:prstGeom prst="rect">
            <a:avLst/>
          </a:prstGeom>
        </p:spPr>
        <p:txBody>
          <a:bodyPr vert="horz"/>
          <a:lstStyle>
            <a:lvl1pPr marL="0" indent="0">
              <a:defRPr>
                <a:solidFill>
                  <a:schemeClr val="tx1"/>
                </a:solidFill>
              </a:defRPr>
            </a:lvl1pPr>
          </a:lstStyle>
          <a:p>
            <a:pPr lvl="0"/>
            <a:r>
              <a:rPr lang="en-US" smtClean="0"/>
              <a:t>Click to edit Master text styles</a:t>
            </a:r>
          </a:p>
        </p:txBody>
      </p:sp>
    </p:spTree>
    <p:extLst>
      <p:ext uri="{BB962C8B-B14F-4D97-AF65-F5344CB8AC3E}">
        <p14:creationId xmlns:p14="http://schemas.microsoft.com/office/powerpoint/2010/main" val="198837520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over_Londo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971800"/>
            <a:ext cx="5791200" cy="970430"/>
          </a:xfrm>
        </p:spPr>
        <p:txBody>
          <a:bodyPr anchor="ctr">
            <a:normAutofit/>
          </a:bodyPr>
          <a:lstStyle>
            <a:lvl1pPr algn="l">
              <a:defRPr sz="3200" b="1">
                <a:solidFill>
                  <a:srgbClr val="009EDB"/>
                </a:solidFill>
              </a:defRPr>
            </a:lvl1pPr>
          </a:lstStyle>
          <a:p>
            <a:r>
              <a:rPr lang="en-US" dirty="0" smtClean="0"/>
              <a:t>Click to Edit Master Title</a:t>
            </a:r>
            <a:endParaRPr lang="en-US" dirty="0"/>
          </a:p>
        </p:txBody>
      </p:sp>
      <p:sp>
        <p:nvSpPr>
          <p:cNvPr id="3" name="Subtitle 2"/>
          <p:cNvSpPr>
            <a:spLocks noGrp="1"/>
          </p:cNvSpPr>
          <p:nvPr>
            <p:ph type="subTitle" idx="1"/>
          </p:nvPr>
        </p:nvSpPr>
        <p:spPr>
          <a:xfrm>
            <a:off x="457200" y="3962400"/>
            <a:ext cx="5791337" cy="672164"/>
          </a:xfrm>
          <a:prstGeom prst="rect">
            <a:avLst/>
          </a:prstGeom>
        </p:spPr>
        <p:txBody>
          <a:bodyPr>
            <a:normAutofit/>
          </a:bodyPr>
          <a:lstStyle>
            <a:lvl1pPr marL="0" indent="0" algn="l">
              <a:buNone/>
              <a:defRPr sz="1800" i="0">
                <a:solidFill>
                  <a:srgbClr val="55555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8" name="Rectangle 7"/>
          <p:cNvSpPr>
            <a:spLocks noChangeArrowheads="1"/>
          </p:cNvSpPr>
          <p:nvPr/>
        </p:nvSpPr>
        <p:spPr bwMode="auto">
          <a:xfrm>
            <a:off x="6248537" y="382644"/>
            <a:ext cx="2430325" cy="1015663"/>
          </a:xfrm>
          <a:prstGeom prst="rect">
            <a:avLst/>
          </a:prstGeom>
          <a:noFill/>
          <a:ln w="9525">
            <a:noFill/>
            <a:miter lim="800000"/>
            <a:headEnd/>
            <a:tailEnd/>
          </a:ln>
          <a:effectLst/>
        </p:spPr>
        <p:txBody>
          <a:bodyPr wrap="square">
            <a:spAutoFit/>
          </a:bodyPr>
          <a:lstStyle/>
          <a:p>
            <a:pPr algn="r" defTabSz="457200">
              <a:defRPr/>
            </a:pPr>
            <a:r>
              <a:rPr lang="en-US" sz="1000" b="1" dirty="0">
                <a:solidFill>
                  <a:srgbClr val="A6A6A6"/>
                </a:solidFill>
                <a:cs typeface="Arial" charset="0"/>
              </a:rPr>
              <a:t>Opera Solutions</a:t>
            </a:r>
            <a:r>
              <a:rPr lang="en-US" sz="1000" dirty="0">
                <a:solidFill>
                  <a:srgbClr val="A6A6A6"/>
                </a:solidFill>
                <a:cs typeface="Arial" charset="0"/>
              </a:rPr>
              <a:t/>
            </a:r>
            <a:br>
              <a:rPr lang="en-US" sz="1000" dirty="0">
                <a:solidFill>
                  <a:srgbClr val="A6A6A6"/>
                </a:solidFill>
                <a:cs typeface="Arial" charset="0"/>
              </a:rPr>
            </a:br>
            <a:r>
              <a:rPr lang="en-US" sz="1000" dirty="0">
                <a:solidFill>
                  <a:srgbClr val="A6A6A6"/>
                </a:solidFill>
                <a:cs typeface="Arial" charset="0"/>
              </a:rPr>
              <a:t>53 </a:t>
            </a:r>
            <a:r>
              <a:rPr lang="en-US" sz="1000" dirty="0" err="1">
                <a:solidFill>
                  <a:srgbClr val="A6A6A6"/>
                </a:solidFill>
                <a:cs typeface="Arial" charset="0"/>
              </a:rPr>
              <a:t>Chandos</a:t>
            </a:r>
            <a:r>
              <a:rPr lang="en-US" sz="1000" dirty="0">
                <a:solidFill>
                  <a:srgbClr val="A6A6A6"/>
                </a:solidFill>
                <a:cs typeface="Arial" charset="0"/>
              </a:rPr>
              <a:t> Place</a:t>
            </a:r>
          </a:p>
          <a:p>
            <a:pPr algn="r" defTabSz="457200">
              <a:defRPr/>
            </a:pPr>
            <a:r>
              <a:rPr lang="en-US" sz="1000" dirty="0">
                <a:solidFill>
                  <a:srgbClr val="A6A6A6"/>
                </a:solidFill>
                <a:cs typeface="Arial" charset="0"/>
              </a:rPr>
              <a:t>Covent Garden</a:t>
            </a:r>
          </a:p>
          <a:p>
            <a:pPr algn="r" defTabSz="457200">
              <a:defRPr/>
            </a:pPr>
            <a:r>
              <a:rPr lang="en-US" sz="1000" dirty="0">
                <a:solidFill>
                  <a:srgbClr val="A6A6A6"/>
                </a:solidFill>
                <a:cs typeface="Arial" charset="0"/>
              </a:rPr>
              <a:t>London, WC2N 4HS</a:t>
            </a:r>
          </a:p>
          <a:p>
            <a:pPr algn="r" defTabSz="457200">
              <a:defRPr/>
            </a:pPr>
            <a:r>
              <a:rPr lang="en-US" sz="1000" dirty="0">
                <a:solidFill>
                  <a:srgbClr val="A6A6A6"/>
                </a:solidFill>
              </a:rPr>
              <a:t>+44 (0) 20 7420 3820 </a:t>
            </a:r>
            <a:r>
              <a:rPr lang="en-US" sz="1000" dirty="0">
                <a:solidFill>
                  <a:srgbClr val="A6A6A6"/>
                </a:solidFill>
                <a:cs typeface="Arial" charset="0"/>
              </a:rPr>
              <a:t>telephone </a:t>
            </a:r>
          </a:p>
          <a:p>
            <a:pPr algn="r" defTabSz="457200">
              <a:defRPr/>
            </a:pPr>
            <a:r>
              <a:rPr lang="en-US" sz="1000" dirty="0">
                <a:solidFill>
                  <a:srgbClr val="A6A6A6"/>
                </a:solidFill>
                <a:cs typeface="Arial" charset="0"/>
              </a:rPr>
              <a:t>www.operasolutions.com</a:t>
            </a:r>
          </a:p>
        </p:txBody>
      </p:sp>
      <p:sp>
        <p:nvSpPr>
          <p:cNvPr id="10" name="Picture Placeholder 12"/>
          <p:cNvSpPr>
            <a:spLocks noGrp="1"/>
          </p:cNvSpPr>
          <p:nvPr>
            <p:ph type="pic" sz="quarter" idx="10" hasCustomPrompt="1"/>
          </p:nvPr>
        </p:nvSpPr>
        <p:spPr>
          <a:xfrm>
            <a:off x="6400799" y="2971800"/>
            <a:ext cx="2278063" cy="1662113"/>
          </a:xfrm>
          <a:prstGeom prst="rect">
            <a:avLst/>
          </a:prstGeom>
        </p:spPr>
        <p:txBody>
          <a:bodyPr/>
          <a:lstStyle>
            <a:lvl1pPr marL="0" indent="0" algn="ctr">
              <a:defRPr sz="1400"/>
            </a:lvl1pPr>
          </a:lstStyle>
          <a:p>
            <a:r>
              <a:rPr lang="en-US" dirty="0" smtClean="0"/>
              <a:t>Double click to insert client logo here</a:t>
            </a:r>
            <a:endParaRPr lang="en-US" dirty="0"/>
          </a:p>
        </p:txBody>
      </p:sp>
      <p:sp>
        <p:nvSpPr>
          <p:cNvPr id="11" name="Rectangle 27"/>
          <p:cNvSpPr>
            <a:spLocks noChangeArrowheads="1"/>
          </p:cNvSpPr>
          <p:nvPr>
            <p:custDataLst>
              <p:tags r:id="rId1"/>
            </p:custDataLst>
          </p:nvPr>
        </p:nvSpPr>
        <p:spPr bwMode="auto">
          <a:xfrm>
            <a:off x="457200" y="6248400"/>
            <a:ext cx="5943599" cy="469900"/>
          </a:xfrm>
          <a:prstGeom prst="rect">
            <a:avLst/>
          </a:prstGeom>
          <a:noFill/>
          <a:ln w="9525">
            <a:noFill/>
            <a:miter lim="800000"/>
            <a:headEnd/>
            <a:tailEnd/>
          </a:ln>
        </p:spPr>
        <p:txBody>
          <a:bodyPr lIns="91440" tIns="0" rIns="91440" bIns="0"/>
          <a:lstStyle/>
          <a:p>
            <a:pPr defTabSz="457200" eaLnBrk="0" hangingPunct="0"/>
            <a:r>
              <a:rPr lang="en-GB" altLang="zh-CN" sz="600" dirty="0">
                <a:solidFill>
                  <a:prstClr val="white">
                    <a:lumMod val="65000"/>
                  </a:prstClr>
                </a:solidFill>
                <a:cs typeface="SimSun"/>
              </a:rPr>
              <a:t>NOTICE: Proprietary and Confidential</a:t>
            </a:r>
          </a:p>
          <a:p>
            <a:pPr defTabSz="457200" eaLnBrk="0" hangingPunct="0"/>
            <a:r>
              <a:rPr lang="en-GB" altLang="zh-CN" sz="600" dirty="0">
                <a:solidFill>
                  <a:prstClr val="white">
                    <a:lumMod val="65000"/>
                  </a:prstClr>
                </a:solidFill>
                <a:cs typeface="SimSun"/>
              </a:rPr>
              <a:t>This material is proprietary to Opera Solutions. It contains trade secrets and confidential information which is sole property of Opera Solutions. This material is solely for the Client</a:t>
            </a:r>
            <a:r>
              <a:rPr lang="en-GB" altLang="zh-CN" sz="600" dirty="0">
                <a:solidFill>
                  <a:prstClr val="white">
                    <a:lumMod val="65000"/>
                  </a:prstClr>
                </a:solidFill>
                <a:latin typeface="Verdana" pitchFamily="34" charset="0"/>
                <a:cs typeface="SimSun"/>
              </a:rPr>
              <a:t>’</a:t>
            </a:r>
            <a:r>
              <a:rPr lang="en-GB" altLang="zh-CN" sz="600" dirty="0">
                <a:solidFill>
                  <a:prstClr val="white">
                    <a:lumMod val="65000"/>
                  </a:prstClr>
                </a:solidFill>
                <a:cs typeface="SimSun"/>
              </a:rPr>
              <a:t>s internal use. This material shall not be used, reproduced, copied, disclosed, transmitted, in whole or in part, without the express written consent of Opera Solutions.</a:t>
            </a:r>
          </a:p>
          <a:p>
            <a:pPr defTabSz="457200" eaLnBrk="0" hangingPunct="0"/>
            <a:r>
              <a:rPr lang="en-IN" altLang="zh-CN" sz="600">
                <a:solidFill>
                  <a:prstClr val="white">
                    <a:lumMod val="65000"/>
                  </a:prstClr>
                </a:solidFill>
                <a:latin typeface="Verdana" pitchFamily="34" charset="0"/>
                <a:cs typeface="SimSun"/>
              </a:rPr>
              <a:t>© 2015 Opera Solutions, LLC. All rights reserved.</a:t>
            </a:r>
            <a:endParaRPr lang="en-GB" altLang="zh-CN" sz="600" dirty="0">
              <a:solidFill>
                <a:prstClr val="white">
                  <a:lumMod val="65000"/>
                </a:prstClr>
              </a:solidFill>
              <a:cs typeface="SimSun"/>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l="6039" r="4404"/>
          <a:stretch/>
        </p:blipFill>
        <p:spPr>
          <a:xfrm>
            <a:off x="188452" y="188458"/>
            <a:ext cx="2794000" cy="1607760"/>
          </a:xfrm>
          <a:prstGeom prst="rect">
            <a:avLst/>
          </a:prstGeom>
        </p:spPr>
      </p:pic>
    </p:spTree>
    <p:extLst>
      <p:ext uri="{BB962C8B-B14F-4D97-AF65-F5344CB8AC3E}">
        <p14:creationId xmlns:p14="http://schemas.microsoft.com/office/powerpoint/2010/main" val="348837205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 Slide_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8788" y="2747963"/>
            <a:ext cx="8226426" cy="1362075"/>
          </a:xfrm>
        </p:spPr>
        <p:txBody>
          <a:bodyPr anchor="ctr">
            <a:normAutofit/>
          </a:bodyPr>
          <a:lstStyle>
            <a:lvl1pPr algn="ctr" defTabSz="457200" rtl="0" eaLnBrk="1" latinLnBrk="0" hangingPunct="1">
              <a:spcBef>
                <a:spcPct val="0"/>
              </a:spcBef>
              <a:buNone/>
              <a:defRPr lang="en-US" sz="3400" b="0" kern="1200" dirty="0">
                <a:solidFill>
                  <a:schemeClr val="bg2"/>
                </a:solidFill>
                <a:latin typeface="Calibri"/>
                <a:ea typeface="+mj-ea"/>
                <a:cs typeface="Calibri"/>
              </a:defRPr>
            </a:lvl1pPr>
          </a:lstStyle>
          <a:p>
            <a:r>
              <a:rPr lang="en-US" dirty="0" smtClean="0"/>
              <a:t>Click to Edit Master Title</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50024" y="320040"/>
            <a:ext cx="1720357" cy="941832"/>
          </a:xfrm>
          <a:prstGeom prst="rect">
            <a:avLst/>
          </a:prstGeom>
        </p:spPr>
      </p:pic>
    </p:spTree>
    <p:extLst>
      <p:ext uri="{BB962C8B-B14F-4D97-AF65-F5344CB8AC3E}">
        <p14:creationId xmlns:p14="http://schemas.microsoft.com/office/powerpoint/2010/main" val="321060728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_Blue">
    <p:bg>
      <p:bgPr>
        <a:solidFill>
          <a:srgbClr val="009EDB"/>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8788" y="2747963"/>
            <a:ext cx="8226426" cy="1362075"/>
          </a:xfrm>
        </p:spPr>
        <p:txBody>
          <a:bodyPr anchor="ctr">
            <a:normAutofit/>
          </a:bodyPr>
          <a:lstStyle>
            <a:lvl1pPr algn="ctr" defTabSz="457200" rtl="0" eaLnBrk="1" latinLnBrk="0" hangingPunct="1">
              <a:spcBef>
                <a:spcPct val="0"/>
              </a:spcBef>
              <a:buNone/>
              <a:defRPr lang="en-US" sz="3400" kern="1200" dirty="0">
                <a:solidFill>
                  <a:schemeClr val="bg1"/>
                </a:solidFill>
                <a:latin typeface="Calibri"/>
                <a:ea typeface="+mj-ea"/>
                <a:cs typeface="Calibri"/>
              </a:defRPr>
            </a:lvl1pPr>
          </a:lstStyle>
          <a:p>
            <a:r>
              <a:rPr lang="en-US" dirty="0" smtClean="0"/>
              <a:t>Click to Edit Mast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9069" y="321199"/>
            <a:ext cx="1718076" cy="940586"/>
          </a:xfrm>
          <a:prstGeom prst="rect">
            <a:avLst/>
          </a:prstGeom>
        </p:spPr>
      </p:pic>
    </p:spTree>
    <p:extLst>
      <p:ext uri="{BB962C8B-B14F-4D97-AF65-F5344CB8AC3E}">
        <p14:creationId xmlns:p14="http://schemas.microsoft.com/office/powerpoint/2010/main" val="315486889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nts_Blue">
    <p:bg>
      <p:bgPr>
        <a:solidFill>
          <a:schemeClr val="bg2"/>
        </a:solidFill>
        <a:effectLst/>
      </p:bgPr>
    </p:bg>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457200" y="398009"/>
            <a:ext cx="6591869" cy="563562"/>
          </a:xfrm>
        </p:spPr>
        <p:txBody>
          <a:bodyPr/>
          <a:lstStyle>
            <a:lvl1pPr>
              <a:defRPr sz="4400">
                <a:solidFill>
                  <a:schemeClr val="bg1"/>
                </a:solidFill>
              </a:defRPr>
            </a:lvl1pPr>
          </a:lstStyle>
          <a:p>
            <a:r>
              <a:rPr lang="en-US" dirty="0" smtClean="0"/>
              <a:t>Click to Edit Master Title</a:t>
            </a:r>
            <a:endParaRPr lang="en-US" dirty="0"/>
          </a:p>
        </p:txBody>
      </p:sp>
      <p:sp>
        <p:nvSpPr>
          <p:cNvPr id="7" name="Text Placeholder 6"/>
          <p:cNvSpPr>
            <a:spLocks noGrp="1"/>
          </p:cNvSpPr>
          <p:nvPr>
            <p:ph type="body" sz="quarter" idx="11" hasCustomPrompt="1"/>
          </p:nvPr>
        </p:nvSpPr>
        <p:spPr>
          <a:xfrm>
            <a:off x="438150" y="1578429"/>
            <a:ext cx="4995636" cy="589642"/>
          </a:xfrm>
          <a:prstGeom prst="roundRect">
            <a:avLst>
              <a:gd name="adj" fmla="val 27436"/>
            </a:avLst>
          </a:prstGeom>
          <a:solidFill>
            <a:srgbClr val="FFFFFF"/>
          </a:solidFill>
          <a:ln>
            <a:noFill/>
          </a:ln>
        </p:spPr>
        <p:txBody>
          <a:bodyPr vert="horz" anchor="ctr" anchorCtr="0"/>
          <a:lstStyle>
            <a:lvl1pPr marL="342900" indent="-342900">
              <a:buFont typeface="Lucida Grande"/>
              <a:buChar char="›"/>
              <a:defRPr sz="2000" b="1">
                <a:solidFill>
                  <a:schemeClr val="accent6"/>
                </a:solidFill>
              </a:defRPr>
            </a:lvl1pPr>
          </a:lstStyle>
          <a:p>
            <a:pPr lvl="0"/>
            <a:r>
              <a:rPr lang="en-US" dirty="0" smtClean="0"/>
              <a:t>Click to Add Section Name</a:t>
            </a:r>
            <a:endParaRPr lang="en-US" dirty="0"/>
          </a:p>
        </p:txBody>
      </p:sp>
      <p:sp>
        <p:nvSpPr>
          <p:cNvPr id="11" name="Text Placeholder 6"/>
          <p:cNvSpPr>
            <a:spLocks noGrp="1"/>
          </p:cNvSpPr>
          <p:nvPr>
            <p:ph type="body" sz="quarter" idx="12" hasCustomPrompt="1"/>
          </p:nvPr>
        </p:nvSpPr>
        <p:spPr>
          <a:xfrm>
            <a:off x="438150" y="2367643"/>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2" name="Text Placeholder 6"/>
          <p:cNvSpPr>
            <a:spLocks noGrp="1"/>
          </p:cNvSpPr>
          <p:nvPr>
            <p:ph type="body" sz="quarter" idx="13" hasCustomPrompt="1"/>
          </p:nvPr>
        </p:nvSpPr>
        <p:spPr>
          <a:xfrm>
            <a:off x="438150" y="3156857"/>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3" name="Text Placeholder 6"/>
          <p:cNvSpPr>
            <a:spLocks noGrp="1"/>
          </p:cNvSpPr>
          <p:nvPr>
            <p:ph type="body" sz="quarter" idx="14" hasCustomPrompt="1"/>
          </p:nvPr>
        </p:nvSpPr>
        <p:spPr>
          <a:xfrm>
            <a:off x="438150" y="3946072"/>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4" name="Text Placeholder 6"/>
          <p:cNvSpPr>
            <a:spLocks noGrp="1"/>
          </p:cNvSpPr>
          <p:nvPr>
            <p:ph type="body" sz="quarter" idx="15" hasCustomPrompt="1"/>
          </p:nvPr>
        </p:nvSpPr>
        <p:spPr>
          <a:xfrm>
            <a:off x="438150" y="4735287"/>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9069" y="321199"/>
            <a:ext cx="1718076" cy="940586"/>
          </a:xfrm>
          <a:prstGeom prst="rect">
            <a:avLst/>
          </a:prstGeom>
        </p:spPr>
      </p:pic>
    </p:spTree>
    <p:extLst>
      <p:ext uri="{BB962C8B-B14F-4D97-AF65-F5344CB8AC3E}">
        <p14:creationId xmlns:p14="http://schemas.microsoft.com/office/powerpoint/2010/main" val="138344803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vider_Navy">
    <p:bg>
      <p:bgPr>
        <a:solidFill>
          <a:srgbClr val="0054A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8788" y="2747963"/>
            <a:ext cx="8226426" cy="1362075"/>
          </a:xfrm>
        </p:spPr>
        <p:txBody>
          <a:bodyPr anchor="ctr">
            <a:normAutofit/>
          </a:bodyPr>
          <a:lstStyle>
            <a:lvl1pPr algn="ctr" defTabSz="457200" rtl="0" eaLnBrk="1" latinLnBrk="0" hangingPunct="1">
              <a:spcBef>
                <a:spcPct val="0"/>
              </a:spcBef>
              <a:buNone/>
              <a:defRPr lang="en-US" sz="3400" kern="1200" dirty="0">
                <a:solidFill>
                  <a:schemeClr val="bg1"/>
                </a:solidFill>
                <a:latin typeface="Calibri"/>
                <a:ea typeface="+mj-ea"/>
                <a:cs typeface="Calibri"/>
              </a:defRPr>
            </a:lvl1pPr>
          </a:lstStyle>
          <a:p>
            <a:r>
              <a:rPr lang="en-US" dirty="0" smtClean="0"/>
              <a:t>Click to Edit Master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9069" y="321199"/>
            <a:ext cx="1718076" cy="940586"/>
          </a:xfrm>
          <a:prstGeom prst="rect">
            <a:avLst/>
          </a:prstGeom>
        </p:spPr>
      </p:pic>
    </p:spTree>
    <p:extLst>
      <p:ext uri="{BB962C8B-B14F-4D97-AF65-F5344CB8AC3E}">
        <p14:creationId xmlns:p14="http://schemas.microsoft.com/office/powerpoint/2010/main" val="795421560"/>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ents_Navy">
    <p:bg>
      <p:bgPr>
        <a:solidFill>
          <a:schemeClr val="tx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438150" y="1578429"/>
            <a:ext cx="4995636" cy="589642"/>
          </a:xfrm>
          <a:prstGeom prst="roundRect">
            <a:avLst>
              <a:gd name="adj" fmla="val 27436"/>
            </a:avLst>
          </a:prstGeom>
          <a:solidFill>
            <a:srgbClr val="FFFFFF"/>
          </a:solidFill>
          <a:ln>
            <a:noFill/>
          </a:ln>
        </p:spPr>
        <p:txBody>
          <a:bodyPr vert="horz" anchor="ctr" anchorCtr="0"/>
          <a:lstStyle>
            <a:lvl1pPr marL="342900" indent="-342900">
              <a:buFont typeface="Lucida Grande"/>
              <a:buChar char="›"/>
              <a:defRPr sz="2000" b="1">
                <a:solidFill>
                  <a:schemeClr val="tx2"/>
                </a:solidFill>
              </a:defRPr>
            </a:lvl1pPr>
          </a:lstStyle>
          <a:p>
            <a:pPr lvl="0"/>
            <a:r>
              <a:rPr lang="en-US" dirty="0" smtClean="0"/>
              <a:t>Click to Add Section Name</a:t>
            </a:r>
            <a:endParaRPr lang="en-US" dirty="0"/>
          </a:p>
        </p:txBody>
      </p:sp>
      <p:sp>
        <p:nvSpPr>
          <p:cNvPr id="11" name="Text Placeholder 6"/>
          <p:cNvSpPr>
            <a:spLocks noGrp="1"/>
          </p:cNvSpPr>
          <p:nvPr>
            <p:ph type="body" sz="quarter" idx="12" hasCustomPrompt="1"/>
          </p:nvPr>
        </p:nvSpPr>
        <p:spPr>
          <a:xfrm>
            <a:off x="438150" y="2367643"/>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2" name="Text Placeholder 6"/>
          <p:cNvSpPr>
            <a:spLocks noGrp="1"/>
          </p:cNvSpPr>
          <p:nvPr>
            <p:ph type="body" sz="quarter" idx="13" hasCustomPrompt="1"/>
          </p:nvPr>
        </p:nvSpPr>
        <p:spPr>
          <a:xfrm>
            <a:off x="438150" y="3156857"/>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3" name="Text Placeholder 6"/>
          <p:cNvSpPr>
            <a:spLocks noGrp="1"/>
          </p:cNvSpPr>
          <p:nvPr>
            <p:ph type="body" sz="quarter" idx="14" hasCustomPrompt="1"/>
          </p:nvPr>
        </p:nvSpPr>
        <p:spPr>
          <a:xfrm>
            <a:off x="438150" y="3946072"/>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4" name="Text Placeholder 6"/>
          <p:cNvSpPr>
            <a:spLocks noGrp="1"/>
          </p:cNvSpPr>
          <p:nvPr>
            <p:ph type="body" sz="quarter" idx="15" hasCustomPrompt="1"/>
          </p:nvPr>
        </p:nvSpPr>
        <p:spPr>
          <a:xfrm>
            <a:off x="438150" y="4735287"/>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8" name="Title 9"/>
          <p:cNvSpPr>
            <a:spLocks noGrp="1"/>
          </p:cNvSpPr>
          <p:nvPr>
            <p:ph type="title" hasCustomPrompt="1"/>
          </p:nvPr>
        </p:nvSpPr>
        <p:spPr>
          <a:xfrm>
            <a:off x="457200" y="398009"/>
            <a:ext cx="6591869" cy="563562"/>
          </a:xfrm>
        </p:spPr>
        <p:txBody>
          <a:bodyPr/>
          <a:lstStyle>
            <a:lvl1pPr>
              <a:defRPr sz="4400">
                <a:solidFill>
                  <a:schemeClr val="bg1"/>
                </a:solidFill>
              </a:defRPr>
            </a:lvl1pPr>
          </a:lstStyle>
          <a:p>
            <a:r>
              <a:rPr lang="en-US" dirty="0" smtClean="0"/>
              <a:t>Click to Edit Master Title</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9069" y="321199"/>
            <a:ext cx="1718076" cy="940586"/>
          </a:xfrm>
          <a:prstGeom prst="rect">
            <a:avLst/>
          </a:prstGeom>
        </p:spPr>
      </p:pic>
    </p:spTree>
    <p:extLst>
      <p:ext uri="{BB962C8B-B14F-4D97-AF65-F5344CB8AC3E}">
        <p14:creationId xmlns:p14="http://schemas.microsoft.com/office/powerpoint/2010/main" val="295903164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_Green">
    <p:bg>
      <p:bgPr>
        <a:solidFill>
          <a:srgbClr val="BEC53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8788" y="2747963"/>
            <a:ext cx="8226426" cy="1362075"/>
          </a:xfrm>
        </p:spPr>
        <p:txBody>
          <a:bodyPr anchor="ctr">
            <a:normAutofit/>
          </a:bodyPr>
          <a:lstStyle>
            <a:lvl1pPr algn="ctr" defTabSz="457200" rtl="0" eaLnBrk="1" latinLnBrk="0" hangingPunct="1">
              <a:spcBef>
                <a:spcPct val="0"/>
              </a:spcBef>
              <a:buNone/>
              <a:defRPr lang="en-US" sz="3400" kern="1200" dirty="0">
                <a:solidFill>
                  <a:schemeClr val="bg1"/>
                </a:solidFill>
                <a:latin typeface="Calibri"/>
                <a:ea typeface="+mj-ea"/>
                <a:cs typeface="Calibri"/>
              </a:defRPr>
            </a:lvl1pPr>
          </a:lstStyle>
          <a:p>
            <a:r>
              <a:rPr lang="en-US" dirty="0" smtClean="0"/>
              <a:t>Click to Edit Master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9069" y="321199"/>
            <a:ext cx="1718076" cy="940586"/>
          </a:xfrm>
          <a:prstGeom prst="rect">
            <a:avLst/>
          </a:prstGeom>
        </p:spPr>
      </p:pic>
    </p:spTree>
    <p:extLst>
      <p:ext uri="{BB962C8B-B14F-4D97-AF65-F5344CB8AC3E}">
        <p14:creationId xmlns:p14="http://schemas.microsoft.com/office/powerpoint/2010/main" val="34462464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s_Green">
    <p:bg>
      <p:bgPr>
        <a:solidFill>
          <a:schemeClr val="accent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438150" y="1578429"/>
            <a:ext cx="4995636" cy="589642"/>
          </a:xfrm>
          <a:prstGeom prst="roundRect">
            <a:avLst>
              <a:gd name="adj" fmla="val 27436"/>
            </a:avLst>
          </a:prstGeom>
          <a:solidFill>
            <a:srgbClr val="FFFFFF"/>
          </a:solidFill>
          <a:ln>
            <a:noFill/>
          </a:ln>
        </p:spPr>
        <p:txBody>
          <a:bodyPr vert="horz" anchor="ctr" anchorCtr="0"/>
          <a:lstStyle>
            <a:lvl1pPr marL="342900" indent="-342900">
              <a:buFont typeface="Lucida Grande"/>
              <a:buChar char="›"/>
              <a:defRPr sz="2000" b="1">
                <a:solidFill>
                  <a:schemeClr val="accent2"/>
                </a:solidFill>
              </a:defRPr>
            </a:lvl1pPr>
          </a:lstStyle>
          <a:p>
            <a:pPr lvl="0"/>
            <a:r>
              <a:rPr lang="en-US" dirty="0" smtClean="0"/>
              <a:t>Click to Add Section Name</a:t>
            </a:r>
            <a:endParaRPr lang="en-US" dirty="0"/>
          </a:p>
        </p:txBody>
      </p:sp>
      <p:sp>
        <p:nvSpPr>
          <p:cNvPr id="11" name="Text Placeholder 6"/>
          <p:cNvSpPr>
            <a:spLocks noGrp="1"/>
          </p:cNvSpPr>
          <p:nvPr>
            <p:ph type="body" sz="quarter" idx="12" hasCustomPrompt="1"/>
          </p:nvPr>
        </p:nvSpPr>
        <p:spPr>
          <a:xfrm>
            <a:off x="438150" y="2367643"/>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2" name="Text Placeholder 6"/>
          <p:cNvSpPr>
            <a:spLocks noGrp="1"/>
          </p:cNvSpPr>
          <p:nvPr>
            <p:ph type="body" sz="quarter" idx="13" hasCustomPrompt="1"/>
          </p:nvPr>
        </p:nvSpPr>
        <p:spPr>
          <a:xfrm>
            <a:off x="438150" y="3156857"/>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3" name="Text Placeholder 6"/>
          <p:cNvSpPr>
            <a:spLocks noGrp="1"/>
          </p:cNvSpPr>
          <p:nvPr>
            <p:ph type="body" sz="quarter" idx="14" hasCustomPrompt="1"/>
          </p:nvPr>
        </p:nvSpPr>
        <p:spPr>
          <a:xfrm>
            <a:off x="438150" y="3946072"/>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4" name="Text Placeholder 6"/>
          <p:cNvSpPr>
            <a:spLocks noGrp="1"/>
          </p:cNvSpPr>
          <p:nvPr>
            <p:ph type="body" sz="quarter" idx="15" hasCustomPrompt="1"/>
          </p:nvPr>
        </p:nvSpPr>
        <p:spPr>
          <a:xfrm>
            <a:off x="438150" y="4735287"/>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8" name="Title 9"/>
          <p:cNvSpPr>
            <a:spLocks noGrp="1"/>
          </p:cNvSpPr>
          <p:nvPr>
            <p:ph type="title" hasCustomPrompt="1"/>
          </p:nvPr>
        </p:nvSpPr>
        <p:spPr>
          <a:xfrm>
            <a:off x="457200" y="398009"/>
            <a:ext cx="6591869" cy="563562"/>
          </a:xfrm>
        </p:spPr>
        <p:txBody>
          <a:bodyPr/>
          <a:lstStyle>
            <a:lvl1pPr>
              <a:defRPr sz="4400">
                <a:solidFill>
                  <a:schemeClr val="bg1"/>
                </a:solidFill>
              </a:defRPr>
            </a:lvl1pPr>
          </a:lstStyle>
          <a:p>
            <a:r>
              <a:rPr lang="en-US" dirty="0" smtClean="0"/>
              <a:t>Click to Edit Master Title</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9069" y="321199"/>
            <a:ext cx="1718076" cy="940586"/>
          </a:xfrm>
          <a:prstGeom prst="rect">
            <a:avLst/>
          </a:prstGeom>
        </p:spPr>
      </p:pic>
    </p:spTree>
    <p:extLst>
      <p:ext uri="{BB962C8B-B14F-4D97-AF65-F5344CB8AC3E}">
        <p14:creationId xmlns:p14="http://schemas.microsoft.com/office/powerpoint/2010/main" val="33437201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_Pink">
    <p:bg>
      <p:bgPr>
        <a:solidFill>
          <a:srgbClr val="E2195B"/>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8788" y="2747963"/>
            <a:ext cx="8226426" cy="1362075"/>
          </a:xfrm>
        </p:spPr>
        <p:txBody>
          <a:bodyPr anchor="ctr">
            <a:normAutofit/>
          </a:bodyPr>
          <a:lstStyle>
            <a:lvl1pPr algn="ctr" defTabSz="457200" rtl="0" eaLnBrk="1" latinLnBrk="0" hangingPunct="1">
              <a:spcBef>
                <a:spcPct val="0"/>
              </a:spcBef>
              <a:buNone/>
              <a:defRPr lang="en-US" sz="3400" kern="1200" dirty="0">
                <a:solidFill>
                  <a:schemeClr val="bg1"/>
                </a:solidFill>
                <a:latin typeface="Calibri"/>
                <a:ea typeface="+mj-ea"/>
                <a:cs typeface="Calibri"/>
              </a:defRPr>
            </a:lvl1pPr>
          </a:lstStyle>
          <a:p>
            <a:r>
              <a:rPr lang="en-US" dirty="0" smtClean="0"/>
              <a:t>Click to Edit Master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9069" y="321199"/>
            <a:ext cx="1718076" cy="940586"/>
          </a:xfrm>
          <a:prstGeom prst="rect">
            <a:avLst/>
          </a:prstGeom>
        </p:spPr>
      </p:pic>
    </p:spTree>
    <p:extLst>
      <p:ext uri="{BB962C8B-B14F-4D97-AF65-F5344CB8AC3E}">
        <p14:creationId xmlns:p14="http://schemas.microsoft.com/office/powerpoint/2010/main" val="209895616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s_Pink">
    <p:bg>
      <p:bgPr>
        <a:solidFill>
          <a:schemeClr val="accent3"/>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438150" y="1578429"/>
            <a:ext cx="4995636" cy="589642"/>
          </a:xfrm>
          <a:prstGeom prst="roundRect">
            <a:avLst>
              <a:gd name="adj" fmla="val 27436"/>
            </a:avLst>
          </a:prstGeom>
          <a:solidFill>
            <a:srgbClr val="FFFFFF"/>
          </a:solidFill>
          <a:ln>
            <a:noFill/>
          </a:ln>
        </p:spPr>
        <p:txBody>
          <a:bodyPr vert="horz" anchor="ctr" anchorCtr="0"/>
          <a:lstStyle>
            <a:lvl1pPr marL="342900" indent="-342900">
              <a:buFont typeface="Lucida Grande"/>
              <a:buChar char="›"/>
              <a:defRPr sz="2000" b="1">
                <a:solidFill>
                  <a:schemeClr val="accent3"/>
                </a:solidFill>
              </a:defRPr>
            </a:lvl1pPr>
          </a:lstStyle>
          <a:p>
            <a:pPr lvl="0"/>
            <a:r>
              <a:rPr lang="en-US" dirty="0" smtClean="0"/>
              <a:t>Click to Add Section Name</a:t>
            </a:r>
            <a:endParaRPr lang="en-US" dirty="0"/>
          </a:p>
        </p:txBody>
      </p:sp>
      <p:sp>
        <p:nvSpPr>
          <p:cNvPr id="11" name="Text Placeholder 6"/>
          <p:cNvSpPr>
            <a:spLocks noGrp="1"/>
          </p:cNvSpPr>
          <p:nvPr>
            <p:ph type="body" sz="quarter" idx="12" hasCustomPrompt="1"/>
          </p:nvPr>
        </p:nvSpPr>
        <p:spPr>
          <a:xfrm>
            <a:off x="438150" y="2367643"/>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2" name="Text Placeholder 6"/>
          <p:cNvSpPr>
            <a:spLocks noGrp="1"/>
          </p:cNvSpPr>
          <p:nvPr>
            <p:ph type="body" sz="quarter" idx="13" hasCustomPrompt="1"/>
          </p:nvPr>
        </p:nvSpPr>
        <p:spPr>
          <a:xfrm>
            <a:off x="438150" y="3156857"/>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3" name="Text Placeholder 6"/>
          <p:cNvSpPr>
            <a:spLocks noGrp="1"/>
          </p:cNvSpPr>
          <p:nvPr>
            <p:ph type="body" sz="quarter" idx="14" hasCustomPrompt="1"/>
          </p:nvPr>
        </p:nvSpPr>
        <p:spPr>
          <a:xfrm>
            <a:off x="438150" y="3946072"/>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4" name="Text Placeholder 6"/>
          <p:cNvSpPr>
            <a:spLocks noGrp="1"/>
          </p:cNvSpPr>
          <p:nvPr>
            <p:ph type="body" sz="quarter" idx="15" hasCustomPrompt="1"/>
          </p:nvPr>
        </p:nvSpPr>
        <p:spPr>
          <a:xfrm>
            <a:off x="438150" y="4735287"/>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8" name="Title 9"/>
          <p:cNvSpPr>
            <a:spLocks noGrp="1"/>
          </p:cNvSpPr>
          <p:nvPr>
            <p:ph type="title" hasCustomPrompt="1"/>
          </p:nvPr>
        </p:nvSpPr>
        <p:spPr>
          <a:xfrm>
            <a:off x="457200" y="398009"/>
            <a:ext cx="6591869" cy="563562"/>
          </a:xfrm>
        </p:spPr>
        <p:txBody>
          <a:bodyPr/>
          <a:lstStyle>
            <a:lvl1pPr>
              <a:defRPr sz="4400">
                <a:solidFill>
                  <a:schemeClr val="bg1"/>
                </a:solidFill>
              </a:defRPr>
            </a:lvl1pPr>
          </a:lstStyle>
          <a:p>
            <a:r>
              <a:rPr lang="en-US" dirty="0" smtClean="0"/>
              <a:t>Click to Edit Master Title</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9069" y="321199"/>
            <a:ext cx="1718076" cy="940586"/>
          </a:xfrm>
          <a:prstGeom prst="rect">
            <a:avLst/>
          </a:prstGeom>
        </p:spPr>
      </p:pic>
    </p:spTree>
    <p:extLst>
      <p:ext uri="{BB962C8B-B14F-4D97-AF65-F5344CB8AC3E}">
        <p14:creationId xmlns:p14="http://schemas.microsoft.com/office/powerpoint/2010/main" val="2607531333"/>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a:t>
            </a:r>
            <a:endParaRPr lang="en-US" dirty="0"/>
          </a:p>
        </p:txBody>
      </p:sp>
    </p:spTree>
    <p:extLst>
      <p:ext uri="{BB962C8B-B14F-4D97-AF65-F5344CB8AC3E}">
        <p14:creationId xmlns:p14="http://schemas.microsoft.com/office/powerpoint/2010/main" val="747363409"/>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_Orange">
    <p:bg>
      <p:bgPr>
        <a:solidFill>
          <a:srgbClr val="F99D1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8788" y="2747963"/>
            <a:ext cx="8226426" cy="1362075"/>
          </a:xfrm>
        </p:spPr>
        <p:txBody>
          <a:bodyPr anchor="ctr">
            <a:normAutofit/>
          </a:bodyPr>
          <a:lstStyle>
            <a:lvl1pPr algn="ctr" defTabSz="457200" rtl="0" eaLnBrk="1" latinLnBrk="0" hangingPunct="1">
              <a:spcBef>
                <a:spcPct val="0"/>
              </a:spcBef>
              <a:buNone/>
              <a:defRPr lang="en-US" sz="3400" kern="1200" dirty="0">
                <a:solidFill>
                  <a:schemeClr val="bg1"/>
                </a:solidFill>
                <a:latin typeface="Calibri"/>
                <a:ea typeface="+mj-ea"/>
                <a:cs typeface="Calibri"/>
              </a:defRPr>
            </a:lvl1pPr>
          </a:lstStyle>
          <a:p>
            <a:r>
              <a:rPr lang="en-US" dirty="0" smtClean="0"/>
              <a:t>Click to Edit Master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9069" y="321199"/>
            <a:ext cx="1718076" cy="940586"/>
          </a:xfrm>
          <a:prstGeom prst="rect">
            <a:avLst/>
          </a:prstGeom>
        </p:spPr>
      </p:pic>
    </p:spTree>
    <p:extLst>
      <p:ext uri="{BB962C8B-B14F-4D97-AF65-F5344CB8AC3E}">
        <p14:creationId xmlns:p14="http://schemas.microsoft.com/office/powerpoint/2010/main" val="282797517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s_Orange">
    <p:bg>
      <p:bgPr>
        <a:solidFill>
          <a:schemeClr val="accent4"/>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438150" y="1578429"/>
            <a:ext cx="4995636" cy="589642"/>
          </a:xfrm>
          <a:prstGeom prst="roundRect">
            <a:avLst>
              <a:gd name="adj" fmla="val 27436"/>
            </a:avLst>
          </a:prstGeom>
          <a:solidFill>
            <a:srgbClr val="FFFFFF"/>
          </a:solidFill>
          <a:ln>
            <a:noFill/>
          </a:ln>
        </p:spPr>
        <p:txBody>
          <a:bodyPr vert="horz" anchor="ctr" anchorCtr="0"/>
          <a:lstStyle>
            <a:lvl1pPr marL="342900" indent="-342900">
              <a:buFont typeface="Lucida Grande"/>
              <a:buChar char="›"/>
              <a:defRPr sz="2000" b="1">
                <a:solidFill>
                  <a:schemeClr val="accent4"/>
                </a:solidFill>
              </a:defRPr>
            </a:lvl1pPr>
          </a:lstStyle>
          <a:p>
            <a:pPr lvl="0"/>
            <a:r>
              <a:rPr lang="en-US" dirty="0" smtClean="0"/>
              <a:t>Click to Add Section Name</a:t>
            </a:r>
            <a:endParaRPr lang="en-US" dirty="0"/>
          </a:p>
        </p:txBody>
      </p:sp>
      <p:sp>
        <p:nvSpPr>
          <p:cNvPr id="11" name="Text Placeholder 6"/>
          <p:cNvSpPr>
            <a:spLocks noGrp="1"/>
          </p:cNvSpPr>
          <p:nvPr>
            <p:ph type="body" sz="quarter" idx="12" hasCustomPrompt="1"/>
          </p:nvPr>
        </p:nvSpPr>
        <p:spPr>
          <a:xfrm>
            <a:off x="438150" y="2367643"/>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2" name="Text Placeholder 6"/>
          <p:cNvSpPr>
            <a:spLocks noGrp="1"/>
          </p:cNvSpPr>
          <p:nvPr>
            <p:ph type="body" sz="quarter" idx="13" hasCustomPrompt="1"/>
          </p:nvPr>
        </p:nvSpPr>
        <p:spPr>
          <a:xfrm>
            <a:off x="438150" y="3156857"/>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3" name="Text Placeholder 6"/>
          <p:cNvSpPr>
            <a:spLocks noGrp="1"/>
          </p:cNvSpPr>
          <p:nvPr>
            <p:ph type="body" sz="quarter" idx="14" hasCustomPrompt="1"/>
          </p:nvPr>
        </p:nvSpPr>
        <p:spPr>
          <a:xfrm>
            <a:off x="438150" y="3946072"/>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4" name="Text Placeholder 6"/>
          <p:cNvSpPr>
            <a:spLocks noGrp="1"/>
          </p:cNvSpPr>
          <p:nvPr>
            <p:ph type="body" sz="quarter" idx="15" hasCustomPrompt="1"/>
          </p:nvPr>
        </p:nvSpPr>
        <p:spPr>
          <a:xfrm>
            <a:off x="438150" y="4735287"/>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8" name="Title 9"/>
          <p:cNvSpPr>
            <a:spLocks noGrp="1"/>
          </p:cNvSpPr>
          <p:nvPr>
            <p:ph type="title" hasCustomPrompt="1"/>
          </p:nvPr>
        </p:nvSpPr>
        <p:spPr>
          <a:xfrm>
            <a:off x="457200" y="398009"/>
            <a:ext cx="6591869" cy="563562"/>
          </a:xfrm>
        </p:spPr>
        <p:txBody>
          <a:bodyPr/>
          <a:lstStyle>
            <a:lvl1pPr>
              <a:defRPr sz="4400">
                <a:solidFill>
                  <a:schemeClr val="bg1"/>
                </a:solidFill>
              </a:defRPr>
            </a:lvl1pPr>
          </a:lstStyle>
          <a:p>
            <a:r>
              <a:rPr lang="en-US" dirty="0" smtClean="0"/>
              <a:t>Click to Edit Master Title</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9069" y="321199"/>
            <a:ext cx="1718076" cy="940586"/>
          </a:xfrm>
          <a:prstGeom prst="rect">
            <a:avLst/>
          </a:prstGeom>
        </p:spPr>
      </p:pic>
    </p:spTree>
    <p:extLst>
      <p:ext uri="{BB962C8B-B14F-4D97-AF65-F5344CB8AC3E}">
        <p14:creationId xmlns:p14="http://schemas.microsoft.com/office/powerpoint/2010/main" val="4063569454"/>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Divider_Brown">
    <p:bg>
      <p:bgPr>
        <a:solidFill>
          <a:srgbClr val="9E4C4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8788" y="2747963"/>
            <a:ext cx="8226426" cy="1362075"/>
          </a:xfrm>
        </p:spPr>
        <p:txBody>
          <a:bodyPr anchor="ctr">
            <a:normAutofit/>
          </a:bodyPr>
          <a:lstStyle>
            <a:lvl1pPr algn="ctr" defTabSz="457200" rtl="0" eaLnBrk="1" latinLnBrk="0" hangingPunct="1">
              <a:spcBef>
                <a:spcPct val="0"/>
              </a:spcBef>
              <a:buNone/>
              <a:defRPr lang="en-US" sz="3400" kern="1200" dirty="0">
                <a:solidFill>
                  <a:schemeClr val="bg1"/>
                </a:solidFill>
                <a:latin typeface="Calibri"/>
                <a:ea typeface="+mj-ea"/>
                <a:cs typeface="Calibri"/>
              </a:defRPr>
            </a:lvl1pPr>
          </a:lstStyle>
          <a:p>
            <a:r>
              <a:rPr lang="en-US" dirty="0" smtClean="0"/>
              <a:t>Click to Edit Master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9069" y="321199"/>
            <a:ext cx="1718076" cy="940586"/>
          </a:xfrm>
          <a:prstGeom prst="rect">
            <a:avLst/>
          </a:prstGeom>
        </p:spPr>
      </p:pic>
    </p:spTree>
    <p:extLst>
      <p:ext uri="{BB962C8B-B14F-4D97-AF65-F5344CB8AC3E}">
        <p14:creationId xmlns:p14="http://schemas.microsoft.com/office/powerpoint/2010/main" val="2007301131"/>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s_Brown">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438150" y="1578429"/>
            <a:ext cx="4995636" cy="589642"/>
          </a:xfrm>
          <a:prstGeom prst="roundRect">
            <a:avLst>
              <a:gd name="adj" fmla="val 27436"/>
            </a:avLst>
          </a:prstGeom>
          <a:solidFill>
            <a:srgbClr val="FFFFFF"/>
          </a:solidFill>
          <a:ln>
            <a:noFill/>
          </a:ln>
        </p:spPr>
        <p:txBody>
          <a:bodyPr vert="horz" anchor="ctr" anchorCtr="0"/>
          <a:lstStyle>
            <a:lvl1pPr marL="342900" indent="-342900">
              <a:buFont typeface="Lucida Grande"/>
              <a:buChar char="›"/>
              <a:defRPr sz="2000" b="1">
                <a:solidFill>
                  <a:schemeClr val="accent5"/>
                </a:solidFill>
              </a:defRPr>
            </a:lvl1pPr>
          </a:lstStyle>
          <a:p>
            <a:pPr lvl="0"/>
            <a:r>
              <a:rPr lang="en-US" dirty="0" smtClean="0"/>
              <a:t>Click to Add Section Name</a:t>
            </a:r>
            <a:endParaRPr lang="en-US" dirty="0"/>
          </a:p>
        </p:txBody>
      </p:sp>
      <p:sp>
        <p:nvSpPr>
          <p:cNvPr id="11" name="Text Placeholder 6"/>
          <p:cNvSpPr>
            <a:spLocks noGrp="1"/>
          </p:cNvSpPr>
          <p:nvPr>
            <p:ph type="body" sz="quarter" idx="12" hasCustomPrompt="1"/>
          </p:nvPr>
        </p:nvSpPr>
        <p:spPr>
          <a:xfrm>
            <a:off x="438150" y="2367643"/>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2" name="Text Placeholder 6"/>
          <p:cNvSpPr>
            <a:spLocks noGrp="1"/>
          </p:cNvSpPr>
          <p:nvPr>
            <p:ph type="body" sz="quarter" idx="13" hasCustomPrompt="1"/>
          </p:nvPr>
        </p:nvSpPr>
        <p:spPr>
          <a:xfrm>
            <a:off x="438150" y="3156857"/>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3" name="Text Placeholder 6"/>
          <p:cNvSpPr>
            <a:spLocks noGrp="1"/>
          </p:cNvSpPr>
          <p:nvPr>
            <p:ph type="body" sz="quarter" idx="14" hasCustomPrompt="1"/>
          </p:nvPr>
        </p:nvSpPr>
        <p:spPr>
          <a:xfrm>
            <a:off x="438150" y="3946072"/>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14" name="Text Placeholder 6"/>
          <p:cNvSpPr>
            <a:spLocks noGrp="1"/>
          </p:cNvSpPr>
          <p:nvPr>
            <p:ph type="body" sz="quarter" idx="15" hasCustomPrompt="1"/>
          </p:nvPr>
        </p:nvSpPr>
        <p:spPr>
          <a:xfrm>
            <a:off x="438150" y="4735287"/>
            <a:ext cx="4995636" cy="589642"/>
          </a:xfrm>
          <a:prstGeom prst="roundRect">
            <a:avLst>
              <a:gd name="adj" fmla="val 27436"/>
            </a:avLst>
          </a:prstGeom>
          <a:noFill/>
          <a:ln>
            <a:noFill/>
          </a:ln>
        </p:spPr>
        <p:txBody>
          <a:bodyPr vert="horz" anchor="ctr" anchorCtr="0"/>
          <a:lstStyle>
            <a:lvl1pPr marL="342900" indent="-342900">
              <a:buFont typeface="Lucida Grande"/>
              <a:buChar char="›"/>
              <a:defRPr sz="2000" b="1">
                <a:solidFill>
                  <a:schemeClr val="bg1"/>
                </a:solidFill>
              </a:defRPr>
            </a:lvl1pPr>
          </a:lstStyle>
          <a:p>
            <a:pPr lvl="0"/>
            <a:r>
              <a:rPr lang="en-US" dirty="0" smtClean="0"/>
              <a:t>Click to Add Section Name</a:t>
            </a:r>
            <a:endParaRPr lang="en-US" dirty="0"/>
          </a:p>
        </p:txBody>
      </p:sp>
      <p:sp>
        <p:nvSpPr>
          <p:cNvPr id="8" name="Title 9"/>
          <p:cNvSpPr>
            <a:spLocks noGrp="1"/>
          </p:cNvSpPr>
          <p:nvPr>
            <p:ph type="title" hasCustomPrompt="1"/>
          </p:nvPr>
        </p:nvSpPr>
        <p:spPr>
          <a:xfrm>
            <a:off x="457200" y="398009"/>
            <a:ext cx="6591869" cy="563562"/>
          </a:xfrm>
        </p:spPr>
        <p:txBody>
          <a:bodyPr/>
          <a:lstStyle>
            <a:lvl1pPr>
              <a:defRPr sz="4400">
                <a:solidFill>
                  <a:schemeClr val="bg1"/>
                </a:solidFill>
              </a:defRPr>
            </a:lvl1pPr>
          </a:lstStyle>
          <a:p>
            <a:r>
              <a:rPr lang="en-US" dirty="0" smtClean="0"/>
              <a:t>Click to Edit Master Title</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9069" y="321199"/>
            <a:ext cx="1718076" cy="940586"/>
          </a:xfrm>
          <a:prstGeom prst="rect">
            <a:avLst/>
          </a:prstGeom>
        </p:spPr>
      </p:pic>
    </p:spTree>
    <p:extLst>
      <p:ext uri="{BB962C8B-B14F-4D97-AF65-F5344CB8AC3E}">
        <p14:creationId xmlns:p14="http://schemas.microsoft.com/office/powerpoint/2010/main" val="126857529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Divider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60636" y="2586038"/>
            <a:ext cx="3824577" cy="1685924"/>
          </a:xfrm>
        </p:spPr>
        <p:txBody>
          <a:bodyPr anchor="ctr">
            <a:normAutofit/>
          </a:bodyPr>
          <a:lstStyle>
            <a:lvl1pPr algn="l" defTabSz="457200" rtl="0" eaLnBrk="1" latinLnBrk="0" hangingPunct="1">
              <a:spcBef>
                <a:spcPct val="0"/>
              </a:spcBef>
              <a:buNone/>
              <a:defRPr lang="en-US" sz="3400" b="0" kern="1200" dirty="0">
                <a:solidFill>
                  <a:srgbClr val="009EDB"/>
                </a:solidFill>
                <a:latin typeface="Calibri"/>
                <a:ea typeface="+mj-ea"/>
                <a:cs typeface="Calibri"/>
              </a:defRPr>
            </a:lvl1pPr>
          </a:lstStyle>
          <a:p>
            <a:r>
              <a:rPr lang="en-US" dirty="0" smtClean="0"/>
              <a:t>Click to Edit </a:t>
            </a:r>
            <a:br>
              <a:rPr lang="en-US" dirty="0" smtClean="0"/>
            </a:br>
            <a:r>
              <a:rPr lang="en-US" dirty="0" smtClean="0"/>
              <a:t>Master Title</a:t>
            </a:r>
            <a:endParaRPr lang="en-US" dirty="0"/>
          </a:p>
        </p:txBody>
      </p:sp>
      <p:sp>
        <p:nvSpPr>
          <p:cNvPr id="5" name="Picture Placeholder 4"/>
          <p:cNvSpPr>
            <a:spLocks noGrp="1"/>
          </p:cNvSpPr>
          <p:nvPr>
            <p:ph type="pic" sz="quarter" idx="10"/>
          </p:nvPr>
        </p:nvSpPr>
        <p:spPr>
          <a:xfrm>
            <a:off x="0" y="0"/>
            <a:ext cx="4648200" cy="6858000"/>
          </a:xfrm>
          <a:prstGeom prst="rect">
            <a:avLst/>
          </a:prstGeom>
        </p:spPr>
        <p:txBody>
          <a:bodyPr vert="horz" anchor="ctr"/>
          <a:lstStyle>
            <a:lvl1pPr algn="ctr">
              <a:defRPr/>
            </a:lvl1pPr>
          </a:lstStyle>
          <a:p>
            <a:r>
              <a:rPr lang="en-US" smtClean="0"/>
              <a:t>Click icon to add pictur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50024" y="320040"/>
            <a:ext cx="1720357" cy="941832"/>
          </a:xfrm>
          <a:prstGeom prst="rect">
            <a:avLst/>
          </a:prstGeom>
        </p:spPr>
      </p:pic>
    </p:spTree>
    <p:extLst>
      <p:ext uri="{BB962C8B-B14F-4D97-AF65-F5344CB8AC3E}">
        <p14:creationId xmlns:p14="http://schemas.microsoft.com/office/powerpoint/2010/main" val="2075958844"/>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1 Image">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457199" y="1347065"/>
            <a:ext cx="3228975" cy="4577485"/>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4" name="Title Placeholder 1"/>
          <p:cNvSpPr>
            <a:spLocks noGrp="1"/>
          </p:cNvSpPr>
          <p:nvPr>
            <p:ph type="title" hasCustomPrompt="1"/>
          </p:nvPr>
        </p:nvSpPr>
        <p:spPr>
          <a:xfrm>
            <a:off x="457200" y="198438"/>
            <a:ext cx="7162800" cy="563562"/>
          </a:xfrm>
          <a:prstGeom prst="rect">
            <a:avLst/>
          </a:prstGeom>
        </p:spPr>
        <p:txBody>
          <a:bodyPr vert="horz" lIns="91440" tIns="45720" rIns="91440" bIns="45720" rtlCol="0" anchor="ctr">
            <a:normAutofit/>
          </a:bodyPr>
          <a:lstStyle/>
          <a:p>
            <a:r>
              <a:rPr lang="en-US" dirty="0" smtClean="0"/>
              <a:t>Click to Edit Master Title</a:t>
            </a:r>
            <a:endParaRPr lang="en-US" dirty="0"/>
          </a:p>
        </p:txBody>
      </p:sp>
      <p:sp>
        <p:nvSpPr>
          <p:cNvPr id="5" name="TextBox 17"/>
          <p:cNvSpPr txBox="1">
            <a:spLocks noChangeArrowheads="1"/>
          </p:cNvSpPr>
          <p:nvPr/>
        </p:nvSpPr>
        <p:spPr bwMode="auto">
          <a:xfrm>
            <a:off x="4161117" y="2589761"/>
            <a:ext cx="3893141" cy="35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defTabSz="457200"/>
            <a:r>
              <a:rPr lang="en-US" sz="1800" dirty="0" smtClean="0">
                <a:solidFill>
                  <a:srgbClr val="666666"/>
                </a:solidFill>
                <a:latin typeface="Calibri"/>
                <a:cs typeface="Calibri"/>
              </a:rPr>
              <a:t>Click to add text</a:t>
            </a:r>
            <a:endParaRPr lang="en-US" sz="1800" b="1" dirty="0">
              <a:solidFill>
                <a:srgbClr val="666666"/>
              </a:solidFill>
              <a:latin typeface="Calibri"/>
              <a:cs typeface="Calibri"/>
            </a:endParaRPr>
          </a:p>
        </p:txBody>
      </p:sp>
      <p:sp>
        <p:nvSpPr>
          <p:cNvPr id="6" name="TextBox 17"/>
          <p:cNvSpPr txBox="1">
            <a:spLocks noChangeArrowheads="1"/>
          </p:cNvSpPr>
          <p:nvPr userDrawn="1"/>
        </p:nvSpPr>
        <p:spPr bwMode="auto">
          <a:xfrm>
            <a:off x="4161117" y="2589761"/>
            <a:ext cx="3893141" cy="35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defTabSz="457200"/>
            <a:r>
              <a:rPr lang="en-US" sz="1800" dirty="0" smtClean="0">
                <a:solidFill>
                  <a:srgbClr val="666666"/>
                </a:solidFill>
                <a:latin typeface="Calibri"/>
                <a:cs typeface="Calibri"/>
              </a:rPr>
              <a:t>Click to add text</a:t>
            </a:r>
            <a:endParaRPr lang="en-US" sz="1800" b="1" dirty="0">
              <a:solidFill>
                <a:srgbClr val="666666"/>
              </a:solidFill>
              <a:latin typeface="Calibri"/>
              <a:cs typeface="Calibri"/>
            </a:endParaRPr>
          </a:p>
        </p:txBody>
      </p:sp>
    </p:spTree>
    <p:extLst>
      <p:ext uri="{BB962C8B-B14F-4D97-AF65-F5344CB8AC3E}">
        <p14:creationId xmlns:p14="http://schemas.microsoft.com/office/powerpoint/2010/main" val="2054956353"/>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 2 Images">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457200" y="1166091"/>
            <a:ext cx="1600200" cy="1981200"/>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4" name="Picture Placeholder 9"/>
          <p:cNvSpPr>
            <a:spLocks noGrp="1"/>
          </p:cNvSpPr>
          <p:nvPr>
            <p:ph type="pic" sz="quarter" idx="11" hasCustomPrompt="1"/>
          </p:nvPr>
        </p:nvSpPr>
        <p:spPr>
          <a:xfrm>
            <a:off x="457200" y="3810000"/>
            <a:ext cx="1600200" cy="1981200"/>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5" name="Title Placeholder 1"/>
          <p:cNvSpPr>
            <a:spLocks noGrp="1"/>
          </p:cNvSpPr>
          <p:nvPr>
            <p:ph type="title" hasCustomPrompt="1"/>
          </p:nvPr>
        </p:nvSpPr>
        <p:spPr>
          <a:xfrm>
            <a:off x="457200" y="198438"/>
            <a:ext cx="7162800" cy="563562"/>
          </a:xfrm>
          <a:prstGeom prst="rect">
            <a:avLst/>
          </a:prstGeom>
        </p:spPr>
        <p:txBody>
          <a:bodyPr vert="horz" lIns="91440" tIns="45720" rIns="91440" bIns="45720" rtlCol="0" anchor="ctr">
            <a:normAutofit/>
          </a:bodyPr>
          <a:lstStyle/>
          <a:p>
            <a:r>
              <a:rPr lang="en-US" dirty="0" smtClean="0"/>
              <a:t>Click to Edit Master Title</a:t>
            </a:r>
            <a:endParaRPr lang="en-US" dirty="0"/>
          </a:p>
        </p:txBody>
      </p:sp>
    </p:spTree>
    <p:extLst>
      <p:ext uri="{BB962C8B-B14F-4D97-AF65-F5344CB8AC3E}">
        <p14:creationId xmlns:p14="http://schemas.microsoft.com/office/powerpoint/2010/main" val="181304880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 3 Images">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457200" y="1144320"/>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4" name="Picture Placeholder 9"/>
          <p:cNvSpPr>
            <a:spLocks noGrp="1"/>
          </p:cNvSpPr>
          <p:nvPr>
            <p:ph type="pic" sz="quarter" idx="11" hasCustomPrompt="1"/>
          </p:nvPr>
        </p:nvSpPr>
        <p:spPr>
          <a:xfrm>
            <a:off x="457200" y="2961574"/>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5" name="Picture Placeholder 9"/>
          <p:cNvSpPr>
            <a:spLocks noGrp="1"/>
          </p:cNvSpPr>
          <p:nvPr>
            <p:ph type="pic" sz="quarter" idx="12" hasCustomPrompt="1"/>
          </p:nvPr>
        </p:nvSpPr>
        <p:spPr>
          <a:xfrm>
            <a:off x="457200" y="4778829"/>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6" name="Title Placeholder 1"/>
          <p:cNvSpPr>
            <a:spLocks noGrp="1"/>
          </p:cNvSpPr>
          <p:nvPr>
            <p:ph type="title" hasCustomPrompt="1"/>
          </p:nvPr>
        </p:nvSpPr>
        <p:spPr>
          <a:xfrm>
            <a:off x="457200" y="198438"/>
            <a:ext cx="7162800" cy="563562"/>
          </a:xfrm>
          <a:prstGeom prst="rect">
            <a:avLst/>
          </a:prstGeom>
        </p:spPr>
        <p:txBody>
          <a:bodyPr vert="horz" lIns="91440" tIns="45720" rIns="91440" bIns="45720" rtlCol="0" anchor="ctr">
            <a:normAutofit/>
          </a:bodyPr>
          <a:lstStyle/>
          <a:p>
            <a:r>
              <a:rPr lang="en-US" dirty="0" smtClean="0"/>
              <a:t>Click to Edit Master Title</a:t>
            </a:r>
            <a:endParaRPr lang="en-US" dirty="0"/>
          </a:p>
        </p:txBody>
      </p:sp>
    </p:spTree>
    <p:extLst>
      <p:ext uri="{BB962C8B-B14F-4D97-AF65-F5344CB8AC3E}">
        <p14:creationId xmlns:p14="http://schemas.microsoft.com/office/powerpoint/2010/main" val="203718769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6 Images">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457200" y="1144320"/>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4" name="Picture Placeholder 9"/>
          <p:cNvSpPr>
            <a:spLocks noGrp="1"/>
          </p:cNvSpPr>
          <p:nvPr>
            <p:ph type="pic" sz="quarter" idx="11" hasCustomPrompt="1"/>
          </p:nvPr>
        </p:nvSpPr>
        <p:spPr>
          <a:xfrm>
            <a:off x="457200" y="2961574"/>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5" name="Picture Placeholder 9"/>
          <p:cNvSpPr>
            <a:spLocks noGrp="1"/>
          </p:cNvSpPr>
          <p:nvPr>
            <p:ph type="pic" sz="quarter" idx="12" hasCustomPrompt="1"/>
          </p:nvPr>
        </p:nvSpPr>
        <p:spPr>
          <a:xfrm>
            <a:off x="457200" y="4778829"/>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6" name="Picture Placeholder 9"/>
          <p:cNvSpPr>
            <a:spLocks noGrp="1"/>
          </p:cNvSpPr>
          <p:nvPr>
            <p:ph type="pic" sz="quarter" idx="13" hasCustomPrompt="1"/>
          </p:nvPr>
        </p:nvSpPr>
        <p:spPr>
          <a:xfrm>
            <a:off x="4419600" y="1144320"/>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7" name="Picture Placeholder 9"/>
          <p:cNvSpPr>
            <a:spLocks noGrp="1"/>
          </p:cNvSpPr>
          <p:nvPr>
            <p:ph type="pic" sz="quarter" idx="14" hasCustomPrompt="1"/>
          </p:nvPr>
        </p:nvSpPr>
        <p:spPr>
          <a:xfrm>
            <a:off x="4419600" y="2961574"/>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9" name="Picture Placeholder 9"/>
          <p:cNvSpPr>
            <a:spLocks noGrp="1"/>
          </p:cNvSpPr>
          <p:nvPr>
            <p:ph type="pic" sz="quarter" idx="15" hasCustomPrompt="1"/>
          </p:nvPr>
        </p:nvSpPr>
        <p:spPr>
          <a:xfrm>
            <a:off x="4419600" y="4778829"/>
            <a:ext cx="13716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11" name="Title Placeholder 1"/>
          <p:cNvSpPr>
            <a:spLocks noGrp="1"/>
          </p:cNvSpPr>
          <p:nvPr>
            <p:ph type="title" hasCustomPrompt="1"/>
          </p:nvPr>
        </p:nvSpPr>
        <p:spPr>
          <a:xfrm>
            <a:off x="457200" y="198438"/>
            <a:ext cx="7162800" cy="563562"/>
          </a:xfrm>
          <a:prstGeom prst="rect">
            <a:avLst/>
          </a:prstGeom>
        </p:spPr>
        <p:txBody>
          <a:bodyPr vert="horz" lIns="91440" tIns="45720" rIns="91440" bIns="45720" rtlCol="0" anchor="ctr">
            <a:normAutofit/>
          </a:bodyPr>
          <a:lstStyle/>
          <a:p>
            <a:r>
              <a:rPr lang="en-US" dirty="0" smtClean="0"/>
              <a:t>Click to Edit Master Title</a:t>
            </a:r>
            <a:endParaRPr lang="en-US" dirty="0"/>
          </a:p>
        </p:txBody>
      </p:sp>
    </p:spTree>
    <p:extLst>
      <p:ext uri="{BB962C8B-B14F-4D97-AF65-F5344CB8AC3E}">
        <p14:creationId xmlns:p14="http://schemas.microsoft.com/office/powerpoint/2010/main" val="3249680917"/>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amp;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Q&amp;A</a:t>
            </a:r>
            <a:endParaRPr lang="en-US" dirty="0"/>
          </a:p>
        </p:txBody>
      </p:sp>
      <p:pic>
        <p:nvPicPr>
          <p:cNvPr id="3" name="Picture Placeholder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19200" y="1611882"/>
            <a:ext cx="4800600" cy="4292100"/>
          </a:xfrm>
          <a:prstGeom prst="rect">
            <a:avLst/>
          </a:prstGeom>
          <a:effectLst/>
        </p:spPr>
      </p:pic>
    </p:spTree>
    <p:extLst>
      <p:ext uri="{BB962C8B-B14F-4D97-AF65-F5344CB8AC3E}">
        <p14:creationId xmlns:p14="http://schemas.microsoft.com/office/powerpoint/2010/main" val="278426969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a:t>
            </a:r>
            <a:endParaRPr lang="en-US" dirty="0"/>
          </a:p>
        </p:txBody>
      </p:sp>
      <p:sp>
        <p:nvSpPr>
          <p:cNvPr id="5" name="Text Placeholder 3"/>
          <p:cNvSpPr>
            <a:spLocks noGrp="1"/>
          </p:cNvSpPr>
          <p:nvPr>
            <p:ph type="body" sz="quarter" idx="10"/>
          </p:nvPr>
        </p:nvSpPr>
        <p:spPr>
          <a:xfrm>
            <a:off x="457200" y="1981200"/>
            <a:ext cx="8229600" cy="3886200"/>
          </a:xfrm>
          <a:prstGeom prst="rect">
            <a:avLst/>
          </a:prstGeom>
        </p:spPr>
        <p:txBody>
          <a:bodyPr vert="horz"/>
          <a:lstStyle>
            <a:lvl1pPr marL="0" indent="0">
              <a:lnSpc>
                <a:spcPct val="140000"/>
              </a:lnSpc>
              <a:spcBef>
                <a:spcPts val="1000"/>
              </a:spcBef>
              <a:buClr>
                <a:schemeClr val="bg2"/>
              </a:buClr>
              <a:buSzPct val="125000"/>
              <a:buFont typeface="Lucida Grande"/>
              <a:buNone/>
              <a:defRPr sz="1800" b="0" baseline="0">
                <a:solidFill>
                  <a:srgbClr val="555555"/>
                </a:solidFill>
              </a:defRPr>
            </a:lvl1pPr>
            <a:lvl2pPr marL="493776" indent="-274320">
              <a:buClr>
                <a:schemeClr val="bg2"/>
              </a:buClr>
              <a:buSzPct val="125000"/>
              <a:buFont typeface="Lucida Grande"/>
              <a:buChar char="»"/>
              <a:defRPr sz="1400">
                <a:solidFill>
                  <a:schemeClr val="tx1"/>
                </a:solidFill>
              </a:defRPr>
            </a:lvl2pPr>
            <a:lvl3pPr marL="623888" indent="-219075">
              <a:buClr>
                <a:schemeClr val="tx1"/>
              </a:buClr>
              <a:buSzPct val="125000"/>
              <a:buFont typeface="Lucida Grande"/>
              <a:buChar char="›"/>
              <a:defRPr sz="1400">
                <a:solidFill>
                  <a:schemeClr val="tx1"/>
                </a:solidFill>
              </a:defRPr>
            </a:lvl3pPr>
            <a:lvl4pPr marL="854075" indent="-173038">
              <a:buClrTx/>
              <a:buSzPct val="125000"/>
              <a:buFont typeface="Lucida Grande"/>
              <a:buChar char="»"/>
              <a:defRPr sz="1400">
                <a:solidFill>
                  <a:schemeClr val="tx1"/>
                </a:solidFill>
              </a:defRPr>
            </a:lvl4pPr>
            <a:lvl5pPr marL="1027113" indent="-169863">
              <a:defRPr sz="1400" baseline="0">
                <a:solidFill>
                  <a:schemeClr val="tx1"/>
                </a:solidFill>
              </a:defRPr>
            </a:lvl5pPr>
            <a:lvl6pPr>
              <a:buNone/>
              <a:defRPr/>
            </a:lvl6pPr>
          </a:lstStyle>
          <a:p>
            <a:pPr lvl="0"/>
            <a:r>
              <a:rPr lang="en-US" smtClean="0"/>
              <a:t>Click to edit Master text styles</a:t>
            </a:r>
          </a:p>
        </p:txBody>
      </p:sp>
    </p:spTree>
    <p:extLst>
      <p:ext uri="{BB962C8B-B14F-4D97-AF65-F5344CB8AC3E}">
        <p14:creationId xmlns:p14="http://schemas.microsoft.com/office/powerpoint/2010/main" val="850641949"/>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190" y="4267200"/>
            <a:ext cx="7973621" cy="1143000"/>
          </a:xfrm>
        </p:spPr>
        <p:txBody>
          <a:bodyPr anchor="ctr">
            <a:normAutofit/>
          </a:bodyPr>
          <a:lstStyle>
            <a:lvl1pPr algn="ctr" defTabSz="457200" rtl="0" eaLnBrk="1" latinLnBrk="0" hangingPunct="1">
              <a:spcBef>
                <a:spcPct val="0"/>
              </a:spcBef>
              <a:buNone/>
              <a:defRPr lang="en-US" sz="3200" kern="1200" dirty="0">
                <a:solidFill>
                  <a:srgbClr val="009EDB"/>
                </a:solidFill>
                <a:latin typeface="Calibri"/>
                <a:ea typeface="+mj-ea"/>
                <a:cs typeface="Calibri"/>
              </a:defRPr>
            </a:lvl1pPr>
          </a:lstStyle>
          <a:p>
            <a:r>
              <a:rPr lang="en-US" dirty="0" smtClean="0"/>
              <a:t>Click to Edit Master Title</a:t>
            </a:r>
            <a:endParaRPr lang="en-US"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03536" y="1974646"/>
            <a:ext cx="3736929" cy="2045836"/>
          </a:xfrm>
          <a:prstGeom prst="rect">
            <a:avLst/>
          </a:prstGeom>
        </p:spPr>
      </p:pic>
    </p:spTree>
    <p:extLst>
      <p:ext uri="{BB962C8B-B14F-4D97-AF65-F5344CB8AC3E}">
        <p14:creationId xmlns:p14="http://schemas.microsoft.com/office/powerpoint/2010/main" val="98994373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Back Cover">
    <p:spTree>
      <p:nvGrpSpPr>
        <p:cNvPr id="1" name=""/>
        <p:cNvGrpSpPr/>
        <p:nvPr/>
      </p:nvGrpSpPr>
      <p:grpSpPr>
        <a:xfrm>
          <a:off x="0" y="0"/>
          <a:ext cx="0" cy="0"/>
          <a:chOff x="0" y="0"/>
          <a:chExt cx="0" cy="0"/>
        </a:xfrm>
      </p:grpSpPr>
      <p:grpSp>
        <p:nvGrpSpPr>
          <p:cNvPr id="4" name="Group 30"/>
          <p:cNvGrpSpPr>
            <a:grpSpLocks/>
          </p:cNvGrpSpPr>
          <p:nvPr/>
        </p:nvGrpSpPr>
        <p:grpSpPr bwMode="auto">
          <a:xfrm>
            <a:off x="-4" y="5721220"/>
            <a:ext cx="9144008" cy="303230"/>
            <a:chOff x="7572088" y="1676006"/>
            <a:chExt cx="921015" cy="232206"/>
          </a:xfrm>
        </p:grpSpPr>
        <p:cxnSp>
          <p:nvCxnSpPr>
            <p:cNvPr id="6" name="Straight Connector 5"/>
            <p:cNvCxnSpPr/>
            <p:nvPr/>
          </p:nvCxnSpPr>
          <p:spPr bwMode="auto">
            <a:xfrm>
              <a:off x="7572088" y="1676006"/>
              <a:ext cx="921015" cy="0"/>
            </a:xfrm>
            <a:prstGeom prst="line">
              <a:avLst/>
            </a:prstGeom>
            <a:ln w="9525" cap="flat" cmpd="sng" algn="ctr">
              <a:solidFill>
                <a:schemeClr val="bg1">
                  <a:lumMod val="75000"/>
                </a:schemeClr>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 name="Straight Connector 6"/>
            <p:cNvCxnSpPr/>
            <p:nvPr/>
          </p:nvCxnSpPr>
          <p:spPr bwMode="auto">
            <a:xfrm>
              <a:off x="7572088" y="1908212"/>
              <a:ext cx="921015" cy="0"/>
            </a:xfrm>
            <a:prstGeom prst="line">
              <a:avLst/>
            </a:prstGeom>
            <a:ln w="9525" cap="flat" cmpd="sng" algn="ctr">
              <a:solidFill>
                <a:schemeClr val="bg1">
                  <a:lumMod val="75000"/>
                </a:schemeClr>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grpSp>
      <p:pic>
        <p:nvPicPr>
          <p:cNvPr id="9" name="Picture 8" descr="Follow us.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187732" y="4596049"/>
            <a:ext cx="2768537" cy="261357"/>
          </a:xfrm>
          <a:prstGeom prst="rect">
            <a:avLst/>
          </a:prstGeom>
        </p:spPr>
      </p:pic>
      <p:sp>
        <p:nvSpPr>
          <p:cNvPr id="5" name="TextBox 4"/>
          <p:cNvSpPr txBox="1"/>
          <p:nvPr/>
        </p:nvSpPr>
        <p:spPr>
          <a:xfrm>
            <a:off x="0" y="5750889"/>
            <a:ext cx="9144000" cy="215444"/>
          </a:xfrm>
          <a:prstGeom prst="rect">
            <a:avLst/>
          </a:prstGeom>
          <a:noFill/>
        </p:spPr>
        <p:txBody>
          <a:bodyPr wrap="square" tIns="0" bIns="0" rtlCol="0" anchor="ctr">
            <a:spAutoFit/>
          </a:bodyPr>
          <a:lstStyle/>
          <a:p>
            <a:pPr algn="ctr" defTabSz="457200">
              <a:defRPr/>
            </a:pPr>
            <a:r>
              <a:rPr lang="pl-PL" sz="1400" dirty="0">
                <a:solidFill>
                  <a:prstClr val="white">
                    <a:lumMod val="65000"/>
                  </a:prstClr>
                </a:solidFill>
              </a:rPr>
              <a:t>Jersey City                Boston                San Diego                Shanghai                New Delhi                London</a:t>
            </a:r>
            <a:endParaRPr lang="en-US" sz="1400" dirty="0">
              <a:solidFill>
                <a:prstClr val="white">
                  <a:lumMod val="65000"/>
                </a:prstClr>
              </a:solidFill>
            </a:endParaRPr>
          </a:p>
        </p:txBody>
      </p:sp>
      <p:sp>
        <p:nvSpPr>
          <p:cNvPr id="8" name="TextBox 7"/>
          <p:cNvSpPr txBox="1"/>
          <p:nvPr/>
        </p:nvSpPr>
        <p:spPr>
          <a:xfrm>
            <a:off x="2362197" y="4857406"/>
            <a:ext cx="4419606" cy="307777"/>
          </a:xfrm>
          <a:prstGeom prst="rect">
            <a:avLst/>
          </a:prstGeom>
          <a:noFill/>
        </p:spPr>
        <p:txBody>
          <a:bodyPr wrap="square" rtlCol="0">
            <a:spAutoFit/>
          </a:bodyPr>
          <a:lstStyle/>
          <a:p>
            <a:pPr algn="ctr" defTabSz="457200"/>
            <a:r>
              <a:rPr lang="en-US" sz="1400" dirty="0">
                <a:solidFill>
                  <a:prstClr val="white">
                    <a:lumMod val="65000"/>
                  </a:prstClr>
                </a:solidFill>
              </a:rPr>
              <a:t>www.operasolutions.com</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03536" y="2550213"/>
            <a:ext cx="3736929" cy="2045836"/>
          </a:xfrm>
          <a:prstGeom prst="rect">
            <a:avLst/>
          </a:prstGeom>
        </p:spPr>
      </p:pic>
    </p:spTree>
    <p:extLst>
      <p:ext uri="{BB962C8B-B14F-4D97-AF65-F5344CB8AC3E}">
        <p14:creationId xmlns:p14="http://schemas.microsoft.com/office/powerpoint/2010/main" val="386106817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513842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List">
    <p:spTree>
      <p:nvGrpSpPr>
        <p:cNvPr id="1" name=""/>
        <p:cNvGrpSpPr/>
        <p:nvPr/>
      </p:nvGrpSpPr>
      <p:grpSpPr>
        <a:xfrm>
          <a:off x="0" y="0"/>
          <a:ext cx="0" cy="0"/>
          <a:chOff x="0" y="0"/>
          <a:chExt cx="0" cy="0"/>
        </a:xfrm>
      </p:grpSpPr>
      <p:sp>
        <p:nvSpPr>
          <p:cNvPr id="15" name="Title 14"/>
          <p:cNvSpPr>
            <a:spLocks noGrp="1"/>
          </p:cNvSpPr>
          <p:nvPr>
            <p:ph type="title" hasCustomPrompt="1"/>
          </p:nvPr>
        </p:nvSpPr>
        <p:spPr/>
        <p:txBody>
          <a:bodyPr/>
          <a:lstStyle/>
          <a:p>
            <a:r>
              <a:rPr lang="en-US" dirty="0" smtClean="0"/>
              <a:t>Click to Edit Master Title</a:t>
            </a:r>
            <a:endParaRPr lang="en-US" dirty="0"/>
          </a:p>
        </p:txBody>
      </p:sp>
      <p:sp>
        <p:nvSpPr>
          <p:cNvPr id="4" name="Text Placeholder 3"/>
          <p:cNvSpPr>
            <a:spLocks noGrp="1"/>
          </p:cNvSpPr>
          <p:nvPr>
            <p:ph type="body" sz="quarter" idx="10"/>
          </p:nvPr>
        </p:nvSpPr>
        <p:spPr>
          <a:xfrm>
            <a:off x="457200" y="1981200"/>
            <a:ext cx="8229600" cy="3886200"/>
          </a:xfrm>
          <a:prstGeom prst="rect">
            <a:avLst/>
          </a:prstGeom>
        </p:spPr>
        <p:txBody>
          <a:bodyPr vert="horz"/>
          <a:lstStyle>
            <a:lvl1pPr marL="285750" indent="-285750">
              <a:lnSpc>
                <a:spcPct val="140000"/>
              </a:lnSpc>
              <a:spcBef>
                <a:spcPts val="1000"/>
              </a:spcBef>
              <a:buClr>
                <a:schemeClr val="bg2"/>
              </a:buClr>
              <a:buSzPct val="125000"/>
              <a:buFont typeface="Lucida Grande"/>
              <a:buChar char="›"/>
              <a:defRPr sz="1400" b="0" baseline="0">
                <a:solidFill>
                  <a:srgbClr val="555555"/>
                </a:solidFill>
              </a:defRPr>
            </a:lvl1pPr>
            <a:lvl2pPr marL="493776" indent="-274320">
              <a:buClr>
                <a:schemeClr val="bg2"/>
              </a:buClr>
              <a:buSzPct val="125000"/>
              <a:buFont typeface="Lucida Grande"/>
              <a:buChar char="»"/>
              <a:defRPr sz="1400">
                <a:solidFill>
                  <a:schemeClr val="tx1"/>
                </a:solidFill>
              </a:defRPr>
            </a:lvl2pPr>
            <a:lvl3pPr marL="623888" indent="-219075">
              <a:buClr>
                <a:schemeClr val="tx1"/>
              </a:buClr>
              <a:buSzPct val="125000"/>
              <a:buFont typeface="Lucida Grande"/>
              <a:buChar char="›"/>
              <a:defRPr sz="1400">
                <a:solidFill>
                  <a:schemeClr val="tx1"/>
                </a:solidFill>
              </a:defRPr>
            </a:lvl3pPr>
            <a:lvl4pPr marL="854075" indent="-173038">
              <a:buClrTx/>
              <a:buSzPct val="125000"/>
              <a:buFont typeface="Lucida Grande"/>
              <a:buChar char="»"/>
              <a:defRPr sz="1400">
                <a:solidFill>
                  <a:schemeClr val="tx1"/>
                </a:solidFill>
              </a:defRPr>
            </a:lvl4pPr>
            <a:lvl5pPr marL="1027113" indent="-169863">
              <a:buClr>
                <a:schemeClr val="bg1">
                  <a:lumMod val="65000"/>
                </a:schemeClr>
              </a:buClr>
              <a:buSzPct val="125000"/>
              <a:defRPr sz="1400" baseline="0">
                <a:solidFill>
                  <a:schemeClr val="tx1"/>
                </a:solidFill>
              </a:defRPr>
            </a:lvl5pPr>
            <a:lvl6pPr>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535193887"/>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_Jersey Cit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971800"/>
            <a:ext cx="5791200" cy="970430"/>
          </a:xfrm>
        </p:spPr>
        <p:txBody>
          <a:bodyPr anchor="ctr">
            <a:normAutofit/>
          </a:bodyPr>
          <a:lstStyle>
            <a:lvl1pPr algn="l">
              <a:defRPr sz="3200" b="1"/>
            </a:lvl1pPr>
          </a:lstStyle>
          <a:p>
            <a:r>
              <a:rPr lang="en-US" dirty="0" smtClean="0"/>
              <a:t>Click to Edit Master Title</a:t>
            </a:r>
            <a:endParaRPr lang="en-US" dirty="0"/>
          </a:p>
        </p:txBody>
      </p:sp>
      <p:sp>
        <p:nvSpPr>
          <p:cNvPr id="3" name="Subtitle 2"/>
          <p:cNvSpPr>
            <a:spLocks noGrp="1"/>
          </p:cNvSpPr>
          <p:nvPr>
            <p:ph type="subTitle" idx="1"/>
          </p:nvPr>
        </p:nvSpPr>
        <p:spPr>
          <a:xfrm>
            <a:off x="457200" y="3962400"/>
            <a:ext cx="5791337" cy="672164"/>
          </a:xfrm>
          <a:prstGeom prst="rect">
            <a:avLst/>
          </a:prstGeom>
        </p:spPr>
        <p:txBody>
          <a:bodyPr>
            <a:normAutofit/>
          </a:bodyPr>
          <a:lstStyle>
            <a:lvl1pPr marL="0" indent="0" algn="l">
              <a:buNone/>
              <a:defRPr sz="1800" i="0">
                <a:solidFill>
                  <a:srgbClr val="55555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Rectangle 27"/>
          <p:cNvSpPr>
            <a:spLocks noChangeArrowheads="1"/>
          </p:cNvSpPr>
          <p:nvPr>
            <p:custDataLst>
              <p:tags r:id="rId1"/>
            </p:custDataLst>
          </p:nvPr>
        </p:nvSpPr>
        <p:spPr bwMode="auto">
          <a:xfrm>
            <a:off x="457200" y="6248400"/>
            <a:ext cx="5943599" cy="469900"/>
          </a:xfrm>
          <a:prstGeom prst="rect">
            <a:avLst/>
          </a:prstGeom>
          <a:noFill/>
          <a:ln w="9525">
            <a:noFill/>
            <a:miter lim="800000"/>
            <a:headEnd/>
            <a:tailEnd/>
          </a:ln>
        </p:spPr>
        <p:txBody>
          <a:bodyPr lIns="91440" tIns="0" rIns="91440" bIns="0"/>
          <a:lstStyle/>
          <a:p>
            <a:pPr defTabSz="457200" eaLnBrk="0" hangingPunct="0"/>
            <a:r>
              <a:rPr lang="en-GB" altLang="zh-CN" sz="600" dirty="0">
                <a:solidFill>
                  <a:prstClr val="white">
                    <a:lumMod val="65000"/>
                  </a:prstClr>
                </a:solidFill>
                <a:cs typeface="SimSun"/>
              </a:rPr>
              <a:t>NOTICE: Proprietary and Confidential</a:t>
            </a:r>
          </a:p>
          <a:p>
            <a:pPr defTabSz="457200" eaLnBrk="0" hangingPunct="0"/>
            <a:r>
              <a:rPr lang="en-GB" altLang="zh-CN" sz="600" dirty="0">
                <a:solidFill>
                  <a:prstClr val="white">
                    <a:lumMod val="65000"/>
                  </a:prstClr>
                </a:solidFill>
                <a:cs typeface="SimSun"/>
              </a:rPr>
              <a:t>This material is proprietary to Opera Solutions. It contains trade secrets and confidential information which is sole property of Opera Solutions. This material is solely for the Client</a:t>
            </a:r>
            <a:r>
              <a:rPr lang="en-GB" altLang="zh-CN" sz="600" dirty="0">
                <a:solidFill>
                  <a:prstClr val="white">
                    <a:lumMod val="65000"/>
                  </a:prstClr>
                </a:solidFill>
                <a:latin typeface="Verdana" pitchFamily="34" charset="0"/>
                <a:cs typeface="SimSun"/>
              </a:rPr>
              <a:t>’</a:t>
            </a:r>
            <a:r>
              <a:rPr lang="en-GB" altLang="zh-CN" sz="600" dirty="0">
                <a:solidFill>
                  <a:prstClr val="white">
                    <a:lumMod val="65000"/>
                  </a:prstClr>
                </a:solidFill>
                <a:cs typeface="SimSun"/>
              </a:rPr>
              <a:t>s internal use. This material shall not be used, reproduced, copied, disclosed, transmitted, in whole or in part, without the express written consent of Opera Solutions.</a:t>
            </a:r>
          </a:p>
          <a:p>
            <a:pPr defTabSz="457200" eaLnBrk="0" hangingPunct="0"/>
            <a:r>
              <a:rPr lang="en-IN" altLang="zh-CN" sz="600">
                <a:solidFill>
                  <a:prstClr val="white">
                    <a:lumMod val="65000"/>
                  </a:prstClr>
                </a:solidFill>
                <a:latin typeface="Verdana" pitchFamily="34" charset="0"/>
                <a:cs typeface="SimSun"/>
              </a:rPr>
              <a:t>© 2015 Opera Solutions, LLC. All rights reserved.</a:t>
            </a:r>
            <a:endParaRPr lang="en-GB" altLang="zh-CN" sz="600" dirty="0">
              <a:solidFill>
                <a:prstClr val="white">
                  <a:lumMod val="65000"/>
                </a:prstClr>
              </a:solidFill>
              <a:cs typeface="SimSun"/>
            </a:endParaRPr>
          </a:p>
        </p:txBody>
      </p:sp>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l="6039" r="4404"/>
          <a:stretch/>
        </p:blipFill>
        <p:spPr>
          <a:xfrm>
            <a:off x="188452" y="188458"/>
            <a:ext cx="2794000" cy="1607760"/>
          </a:xfrm>
          <a:prstGeom prst="rect">
            <a:avLst/>
          </a:prstGeom>
        </p:spPr>
      </p:pic>
      <p:sp>
        <p:nvSpPr>
          <p:cNvPr id="8" name="Rectangle 7"/>
          <p:cNvSpPr>
            <a:spLocks noChangeArrowheads="1"/>
          </p:cNvSpPr>
          <p:nvPr/>
        </p:nvSpPr>
        <p:spPr bwMode="auto">
          <a:xfrm>
            <a:off x="6705600" y="382644"/>
            <a:ext cx="1943100" cy="1323439"/>
          </a:xfrm>
          <a:prstGeom prst="rect">
            <a:avLst/>
          </a:prstGeom>
          <a:noFill/>
          <a:ln w="9525">
            <a:noFill/>
            <a:miter lim="800000"/>
            <a:headEnd/>
            <a:tailEnd/>
          </a:ln>
          <a:effectLst/>
        </p:spPr>
        <p:txBody>
          <a:bodyPr wrap="square">
            <a:spAutoFit/>
          </a:bodyPr>
          <a:lstStyle/>
          <a:p>
            <a:pPr algn="r" defTabSz="457200"/>
            <a:r>
              <a:rPr lang="en-US" sz="1000" b="1" dirty="0">
                <a:solidFill>
                  <a:prstClr val="white">
                    <a:lumMod val="65000"/>
                  </a:prstClr>
                </a:solidFill>
                <a:cs typeface="Arial" charset="0"/>
              </a:rPr>
              <a:t>Opera Solutions, LLC</a:t>
            </a:r>
            <a:r>
              <a:rPr lang="en-US" sz="1000" dirty="0">
                <a:solidFill>
                  <a:prstClr val="white">
                    <a:lumMod val="65000"/>
                  </a:prstClr>
                </a:solidFill>
                <a:cs typeface="Arial" charset="0"/>
              </a:rPr>
              <a:t/>
            </a:r>
            <a:br>
              <a:rPr lang="en-US" sz="1000" dirty="0">
                <a:solidFill>
                  <a:prstClr val="white">
                    <a:lumMod val="65000"/>
                  </a:prstClr>
                </a:solidFill>
                <a:cs typeface="Arial" charset="0"/>
              </a:rPr>
            </a:br>
            <a:r>
              <a:rPr lang="en-US" sz="1000" dirty="0">
                <a:solidFill>
                  <a:prstClr val="white">
                    <a:lumMod val="65000"/>
                  </a:prstClr>
                </a:solidFill>
                <a:cs typeface="Arial" charset="0"/>
              </a:rPr>
              <a:t>10 Exchange Place</a:t>
            </a:r>
          </a:p>
          <a:p>
            <a:pPr algn="r" defTabSz="457200"/>
            <a:r>
              <a:rPr lang="en-US" sz="1000" dirty="0">
                <a:solidFill>
                  <a:prstClr val="white">
                    <a:lumMod val="65000"/>
                  </a:prstClr>
                </a:solidFill>
                <a:cs typeface="Arial" charset="0"/>
              </a:rPr>
              <a:t>11</a:t>
            </a:r>
            <a:r>
              <a:rPr lang="en-US" sz="1000" baseline="30000" dirty="0">
                <a:solidFill>
                  <a:prstClr val="white">
                    <a:lumMod val="65000"/>
                  </a:prstClr>
                </a:solidFill>
                <a:cs typeface="Arial" charset="0"/>
              </a:rPr>
              <a:t>th</a:t>
            </a:r>
            <a:r>
              <a:rPr lang="en-US" sz="1000" dirty="0">
                <a:solidFill>
                  <a:prstClr val="white">
                    <a:lumMod val="65000"/>
                  </a:prstClr>
                </a:solidFill>
                <a:cs typeface="Arial" charset="0"/>
              </a:rPr>
              <a:t> Floor</a:t>
            </a:r>
          </a:p>
          <a:p>
            <a:pPr algn="r" defTabSz="457200"/>
            <a:r>
              <a:rPr lang="en-US" sz="1000" dirty="0">
                <a:solidFill>
                  <a:prstClr val="white">
                    <a:lumMod val="65000"/>
                  </a:prstClr>
                </a:solidFill>
                <a:cs typeface="Arial" charset="0"/>
              </a:rPr>
              <a:t>Jersey City, NJ 07302</a:t>
            </a:r>
          </a:p>
          <a:p>
            <a:pPr algn="r" defTabSz="457200"/>
            <a:r>
              <a:rPr lang="en-US" sz="1000" dirty="0">
                <a:solidFill>
                  <a:prstClr val="white">
                    <a:lumMod val="65000"/>
                  </a:prstClr>
                </a:solidFill>
                <a:cs typeface="Arial" charset="0"/>
              </a:rPr>
              <a:t>+1 (646) 520 4320 telephone</a:t>
            </a:r>
          </a:p>
          <a:p>
            <a:pPr algn="r" defTabSz="457200"/>
            <a:r>
              <a:rPr lang="en-US" sz="1000" dirty="0">
                <a:solidFill>
                  <a:prstClr val="white">
                    <a:lumMod val="65000"/>
                  </a:prstClr>
                </a:solidFill>
                <a:cs typeface="Arial" charset="0"/>
              </a:rPr>
              <a:t>+1 (646) 520 4501 facsimile</a:t>
            </a:r>
          </a:p>
          <a:p>
            <a:pPr algn="r" defTabSz="457200">
              <a:defRPr/>
            </a:pPr>
            <a:r>
              <a:rPr lang="en-US" sz="1000" dirty="0">
                <a:solidFill>
                  <a:prstClr val="white">
                    <a:lumMod val="65000"/>
                  </a:prstClr>
                </a:solidFill>
                <a:cs typeface="Arial" charset="0"/>
              </a:rPr>
              <a:t>www.operasolutions.com</a:t>
            </a:r>
            <a:br>
              <a:rPr lang="en-US" sz="1000" dirty="0">
                <a:solidFill>
                  <a:prstClr val="white">
                    <a:lumMod val="65000"/>
                  </a:prstClr>
                </a:solidFill>
                <a:cs typeface="Arial" charset="0"/>
              </a:rPr>
            </a:br>
            <a:endParaRPr lang="en-US" sz="1000" dirty="0">
              <a:solidFill>
                <a:prstClr val="white">
                  <a:lumMod val="65000"/>
                </a:prstClr>
              </a:solidFill>
              <a:cs typeface="Arial" charset="0"/>
            </a:endParaRPr>
          </a:p>
        </p:txBody>
      </p:sp>
      <p:sp>
        <p:nvSpPr>
          <p:cNvPr id="10" name="Picture Placeholder 12"/>
          <p:cNvSpPr>
            <a:spLocks noGrp="1"/>
          </p:cNvSpPr>
          <p:nvPr>
            <p:ph type="pic" sz="quarter" idx="10" hasCustomPrompt="1"/>
          </p:nvPr>
        </p:nvSpPr>
        <p:spPr>
          <a:xfrm>
            <a:off x="6400799" y="2971800"/>
            <a:ext cx="2278063" cy="1662113"/>
          </a:xfrm>
          <a:prstGeom prst="rect">
            <a:avLst/>
          </a:prstGeom>
        </p:spPr>
        <p:txBody>
          <a:bodyPr/>
          <a:lstStyle>
            <a:lvl1pPr marL="0" indent="0" algn="ctr">
              <a:defRPr sz="1400"/>
            </a:lvl1pPr>
          </a:lstStyle>
          <a:p>
            <a:r>
              <a:rPr lang="en-US" dirty="0" smtClean="0"/>
              <a:t>Double click to insert client logo here</a:t>
            </a:r>
            <a:endParaRPr lang="en-US" dirty="0"/>
          </a:p>
        </p:txBody>
      </p:sp>
    </p:spTree>
    <p:extLst>
      <p:ext uri="{BB962C8B-B14F-4D97-AF65-F5344CB8AC3E}">
        <p14:creationId xmlns:p14="http://schemas.microsoft.com/office/powerpoint/2010/main" val="145502461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_Bosto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971800"/>
            <a:ext cx="5791200" cy="970430"/>
          </a:xfrm>
        </p:spPr>
        <p:txBody>
          <a:bodyPr anchor="ctr">
            <a:normAutofit/>
          </a:bodyPr>
          <a:lstStyle>
            <a:lvl1pPr algn="l">
              <a:defRPr sz="3200" b="1"/>
            </a:lvl1pPr>
          </a:lstStyle>
          <a:p>
            <a:r>
              <a:rPr lang="en-US" dirty="0" smtClean="0"/>
              <a:t>Click to Edit Master Title</a:t>
            </a:r>
            <a:endParaRPr lang="en-US" dirty="0"/>
          </a:p>
        </p:txBody>
      </p:sp>
      <p:sp>
        <p:nvSpPr>
          <p:cNvPr id="3" name="Subtitle 2"/>
          <p:cNvSpPr>
            <a:spLocks noGrp="1"/>
          </p:cNvSpPr>
          <p:nvPr>
            <p:ph type="subTitle" idx="1"/>
          </p:nvPr>
        </p:nvSpPr>
        <p:spPr>
          <a:xfrm>
            <a:off x="457200" y="3962400"/>
            <a:ext cx="5791337" cy="672164"/>
          </a:xfrm>
          <a:prstGeom prst="rect">
            <a:avLst/>
          </a:prstGeom>
        </p:spPr>
        <p:txBody>
          <a:bodyPr>
            <a:normAutofit/>
          </a:bodyPr>
          <a:lstStyle>
            <a:lvl1pPr marL="0" indent="0" algn="l">
              <a:buNone/>
              <a:defRPr sz="1800" i="0">
                <a:solidFill>
                  <a:srgbClr val="55555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8" name="Rectangle 7"/>
          <p:cNvSpPr>
            <a:spLocks noChangeArrowheads="1"/>
          </p:cNvSpPr>
          <p:nvPr/>
        </p:nvSpPr>
        <p:spPr bwMode="auto">
          <a:xfrm>
            <a:off x="6705600" y="382644"/>
            <a:ext cx="1943100" cy="1169551"/>
          </a:xfrm>
          <a:prstGeom prst="rect">
            <a:avLst/>
          </a:prstGeom>
          <a:noFill/>
          <a:ln w="9525">
            <a:noFill/>
            <a:miter lim="800000"/>
            <a:headEnd/>
            <a:tailEnd/>
          </a:ln>
          <a:effectLst/>
        </p:spPr>
        <p:txBody>
          <a:bodyPr wrap="square">
            <a:spAutoFit/>
          </a:bodyPr>
          <a:lstStyle/>
          <a:p>
            <a:pPr algn="r" defTabSz="457200"/>
            <a:r>
              <a:rPr lang="en-US" sz="1000" b="1" dirty="0">
                <a:solidFill>
                  <a:srgbClr val="A6A6A6"/>
                </a:solidFill>
                <a:cs typeface="Arial" charset="0"/>
              </a:rPr>
              <a:t>Opera Solutions, LLC</a:t>
            </a:r>
            <a:r>
              <a:rPr lang="en-US" sz="1000" dirty="0">
                <a:solidFill>
                  <a:srgbClr val="A6A6A6"/>
                </a:solidFill>
                <a:cs typeface="Arial" charset="0"/>
              </a:rPr>
              <a:t/>
            </a:r>
            <a:br>
              <a:rPr lang="en-US" sz="1000" dirty="0">
                <a:solidFill>
                  <a:srgbClr val="A6A6A6"/>
                </a:solidFill>
                <a:cs typeface="Arial" charset="0"/>
              </a:rPr>
            </a:br>
            <a:r>
              <a:rPr lang="en-US" sz="1000" dirty="0">
                <a:solidFill>
                  <a:srgbClr val="A6A6A6"/>
                </a:solidFill>
              </a:rPr>
              <a:t>300 Washington Street</a:t>
            </a:r>
          </a:p>
          <a:p>
            <a:pPr algn="r" defTabSz="457200"/>
            <a:r>
              <a:rPr lang="fr-FR" sz="1000" dirty="0">
                <a:solidFill>
                  <a:srgbClr val="A6A6A6"/>
                </a:solidFill>
              </a:rPr>
              <a:t>Suite 450</a:t>
            </a:r>
          </a:p>
          <a:p>
            <a:pPr algn="r" defTabSz="457200"/>
            <a:r>
              <a:rPr lang="pl-PL" sz="1000" dirty="0">
                <a:solidFill>
                  <a:srgbClr val="A6A6A6"/>
                </a:solidFill>
              </a:rPr>
              <a:t>Newton, MA 02458</a:t>
            </a:r>
            <a:r>
              <a:rPr lang="en-US" sz="1000" dirty="0">
                <a:solidFill>
                  <a:srgbClr val="A6A6A6"/>
                </a:solidFill>
              </a:rPr>
              <a:t/>
            </a:r>
            <a:br>
              <a:rPr lang="en-US" sz="1000" dirty="0">
                <a:solidFill>
                  <a:srgbClr val="A6A6A6"/>
                </a:solidFill>
              </a:rPr>
            </a:br>
            <a:r>
              <a:rPr lang="en-US" sz="1000" dirty="0">
                <a:solidFill>
                  <a:srgbClr val="A6A6A6"/>
                </a:solidFill>
              </a:rPr>
              <a:t>+1 (857) 404 0431 telephone</a:t>
            </a:r>
          </a:p>
          <a:p>
            <a:pPr algn="r" defTabSz="457200">
              <a:defRPr/>
            </a:pPr>
            <a:r>
              <a:rPr lang="en-US" sz="1000" dirty="0" err="1">
                <a:solidFill>
                  <a:srgbClr val="A6A6A6"/>
                </a:solidFill>
                <a:cs typeface="Arial" charset="0"/>
              </a:rPr>
              <a:t>www.operasolutions.com</a:t>
            </a:r>
            <a:r>
              <a:rPr lang="en-US" sz="1000" dirty="0">
                <a:solidFill>
                  <a:srgbClr val="A6A6A6"/>
                </a:solidFill>
                <a:cs typeface="Arial" charset="0"/>
              </a:rPr>
              <a:t/>
            </a:r>
            <a:br>
              <a:rPr lang="en-US" sz="1000" dirty="0">
                <a:solidFill>
                  <a:srgbClr val="A6A6A6"/>
                </a:solidFill>
                <a:cs typeface="Arial" charset="0"/>
              </a:rPr>
            </a:br>
            <a:endParaRPr lang="en-US" sz="1000" dirty="0">
              <a:solidFill>
                <a:srgbClr val="A6A6A6"/>
              </a:solidFill>
              <a:cs typeface="Arial" charset="0"/>
            </a:endParaRPr>
          </a:p>
        </p:txBody>
      </p:sp>
      <p:sp>
        <p:nvSpPr>
          <p:cNvPr id="10" name="Picture Placeholder 12"/>
          <p:cNvSpPr>
            <a:spLocks noGrp="1"/>
          </p:cNvSpPr>
          <p:nvPr>
            <p:ph type="pic" sz="quarter" idx="10" hasCustomPrompt="1"/>
          </p:nvPr>
        </p:nvSpPr>
        <p:spPr>
          <a:xfrm>
            <a:off x="6400799" y="2971800"/>
            <a:ext cx="2278063" cy="1662113"/>
          </a:xfrm>
          <a:prstGeom prst="rect">
            <a:avLst/>
          </a:prstGeom>
        </p:spPr>
        <p:txBody>
          <a:bodyPr/>
          <a:lstStyle>
            <a:lvl1pPr marL="0" indent="0" algn="ctr">
              <a:defRPr sz="1400"/>
            </a:lvl1pPr>
          </a:lstStyle>
          <a:p>
            <a:r>
              <a:rPr lang="en-US" dirty="0" smtClean="0"/>
              <a:t>Double click to insert client logo here</a:t>
            </a:r>
            <a:endParaRPr lang="en-US" dirty="0"/>
          </a:p>
        </p:txBody>
      </p:sp>
      <p:sp>
        <p:nvSpPr>
          <p:cNvPr id="9" name="Rectangle 27"/>
          <p:cNvSpPr>
            <a:spLocks noChangeArrowheads="1"/>
          </p:cNvSpPr>
          <p:nvPr>
            <p:custDataLst>
              <p:tags r:id="rId1"/>
            </p:custDataLst>
          </p:nvPr>
        </p:nvSpPr>
        <p:spPr bwMode="auto">
          <a:xfrm>
            <a:off x="457200" y="6248400"/>
            <a:ext cx="5943599" cy="469900"/>
          </a:xfrm>
          <a:prstGeom prst="rect">
            <a:avLst/>
          </a:prstGeom>
          <a:noFill/>
          <a:ln w="9525">
            <a:noFill/>
            <a:miter lim="800000"/>
            <a:headEnd/>
            <a:tailEnd/>
          </a:ln>
        </p:spPr>
        <p:txBody>
          <a:bodyPr lIns="91440" tIns="0" rIns="91440" bIns="0"/>
          <a:lstStyle/>
          <a:p>
            <a:pPr defTabSz="457200" eaLnBrk="0" hangingPunct="0"/>
            <a:r>
              <a:rPr lang="en-GB" altLang="zh-CN" sz="600" dirty="0">
                <a:solidFill>
                  <a:prstClr val="white">
                    <a:lumMod val="65000"/>
                  </a:prstClr>
                </a:solidFill>
                <a:cs typeface="SimSun"/>
              </a:rPr>
              <a:t>NOTICE: Proprietary and Confidential</a:t>
            </a:r>
          </a:p>
          <a:p>
            <a:pPr defTabSz="457200" eaLnBrk="0" hangingPunct="0"/>
            <a:r>
              <a:rPr lang="en-GB" altLang="zh-CN" sz="600" dirty="0">
                <a:solidFill>
                  <a:prstClr val="white">
                    <a:lumMod val="65000"/>
                  </a:prstClr>
                </a:solidFill>
                <a:cs typeface="SimSun"/>
              </a:rPr>
              <a:t>This material is proprietary to Opera Solutions. It contains trade secrets and confidential information which is sole property of Opera Solutions. This material is solely for the Client</a:t>
            </a:r>
            <a:r>
              <a:rPr lang="en-GB" altLang="zh-CN" sz="600" dirty="0">
                <a:solidFill>
                  <a:prstClr val="white">
                    <a:lumMod val="65000"/>
                  </a:prstClr>
                </a:solidFill>
                <a:latin typeface="Verdana" pitchFamily="34" charset="0"/>
                <a:cs typeface="SimSun"/>
              </a:rPr>
              <a:t>’</a:t>
            </a:r>
            <a:r>
              <a:rPr lang="en-GB" altLang="zh-CN" sz="600" dirty="0">
                <a:solidFill>
                  <a:prstClr val="white">
                    <a:lumMod val="65000"/>
                  </a:prstClr>
                </a:solidFill>
                <a:cs typeface="SimSun"/>
              </a:rPr>
              <a:t>s internal use. This material shall not be used, reproduced, copied, disclosed, transmitted, in whole or in part, without the express written consent of Opera Solutions.</a:t>
            </a:r>
          </a:p>
          <a:p>
            <a:pPr defTabSz="457200" eaLnBrk="0" hangingPunct="0"/>
            <a:r>
              <a:rPr lang="en-IN" altLang="zh-CN" sz="600">
                <a:solidFill>
                  <a:prstClr val="white">
                    <a:lumMod val="65000"/>
                  </a:prstClr>
                </a:solidFill>
                <a:latin typeface="Verdana" pitchFamily="34" charset="0"/>
                <a:cs typeface="SimSun"/>
              </a:rPr>
              <a:t>© 2015 Opera Solutions, LLC. All rights reserved.</a:t>
            </a:r>
            <a:endParaRPr lang="en-GB" altLang="zh-CN" sz="600" dirty="0">
              <a:solidFill>
                <a:prstClr val="white">
                  <a:lumMod val="65000"/>
                </a:prstClr>
              </a:solidFill>
              <a:cs typeface="SimSun"/>
            </a:endParaRPr>
          </a:p>
        </p:txBody>
      </p:sp>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l="6039" r="4404"/>
          <a:stretch/>
        </p:blipFill>
        <p:spPr>
          <a:xfrm>
            <a:off x="188452" y="188458"/>
            <a:ext cx="2794000" cy="1607760"/>
          </a:xfrm>
          <a:prstGeom prst="rect">
            <a:avLst/>
          </a:prstGeom>
        </p:spPr>
      </p:pic>
    </p:spTree>
    <p:extLst>
      <p:ext uri="{BB962C8B-B14F-4D97-AF65-F5344CB8AC3E}">
        <p14:creationId xmlns:p14="http://schemas.microsoft.com/office/powerpoint/2010/main" val="3800215976"/>
      </p:ext>
    </p:extLst>
  </p:cSld>
  <p:clrMapOvr>
    <a:masterClrMapping/>
  </p:clrMapOvr>
  <p:transition>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ver_San Dieg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971800"/>
            <a:ext cx="5791200" cy="970430"/>
          </a:xfrm>
        </p:spPr>
        <p:txBody>
          <a:bodyPr anchor="ctr">
            <a:normAutofit/>
          </a:bodyPr>
          <a:lstStyle>
            <a:lvl1pPr algn="l">
              <a:defRPr sz="3200" b="1"/>
            </a:lvl1pPr>
          </a:lstStyle>
          <a:p>
            <a:r>
              <a:rPr lang="en-US" dirty="0" smtClean="0"/>
              <a:t>Click to Edit Master Title</a:t>
            </a:r>
            <a:endParaRPr lang="en-US" dirty="0"/>
          </a:p>
        </p:txBody>
      </p:sp>
      <p:sp>
        <p:nvSpPr>
          <p:cNvPr id="3" name="Subtitle 2"/>
          <p:cNvSpPr>
            <a:spLocks noGrp="1"/>
          </p:cNvSpPr>
          <p:nvPr>
            <p:ph type="subTitle" idx="1"/>
          </p:nvPr>
        </p:nvSpPr>
        <p:spPr>
          <a:xfrm>
            <a:off x="457200" y="3962400"/>
            <a:ext cx="5791337" cy="672164"/>
          </a:xfrm>
          <a:prstGeom prst="rect">
            <a:avLst/>
          </a:prstGeom>
        </p:spPr>
        <p:txBody>
          <a:bodyPr>
            <a:normAutofit/>
          </a:bodyPr>
          <a:lstStyle>
            <a:lvl1pPr marL="0" indent="0" algn="l">
              <a:buNone/>
              <a:defRPr sz="1800" i="0">
                <a:solidFill>
                  <a:srgbClr val="55555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Rectangle 8"/>
          <p:cNvSpPr>
            <a:spLocks noChangeArrowheads="1"/>
          </p:cNvSpPr>
          <p:nvPr/>
        </p:nvSpPr>
        <p:spPr bwMode="auto">
          <a:xfrm>
            <a:off x="6248537" y="382644"/>
            <a:ext cx="2400163" cy="1477328"/>
          </a:xfrm>
          <a:prstGeom prst="rect">
            <a:avLst/>
          </a:prstGeom>
          <a:noFill/>
          <a:ln w="9525">
            <a:noFill/>
            <a:miter lim="800000"/>
            <a:headEnd/>
            <a:tailEnd/>
          </a:ln>
          <a:effectLst/>
        </p:spPr>
        <p:txBody>
          <a:bodyPr wrap="square">
            <a:spAutoFit/>
          </a:bodyPr>
          <a:lstStyle/>
          <a:p>
            <a:pPr algn="r" defTabSz="457200">
              <a:defRPr/>
            </a:pPr>
            <a:r>
              <a:rPr lang="en-US" sz="1000" b="1" dirty="0">
                <a:solidFill>
                  <a:srgbClr val="A6A6A6"/>
                </a:solidFill>
                <a:cs typeface="Arial" charset="0"/>
              </a:rPr>
              <a:t>Opera Solutions, LLC</a:t>
            </a:r>
          </a:p>
          <a:p>
            <a:pPr algn="r" defTabSz="457200"/>
            <a:r>
              <a:rPr lang="en-US" sz="1000" dirty="0">
                <a:solidFill>
                  <a:srgbClr val="A6A6A6"/>
                </a:solidFill>
                <a:cs typeface="Arial" charset="0"/>
              </a:rPr>
              <a:t>12230 El Camino Real</a:t>
            </a:r>
          </a:p>
          <a:p>
            <a:pPr algn="r" defTabSz="457200"/>
            <a:r>
              <a:rPr lang="en-US" sz="1000" dirty="0">
                <a:solidFill>
                  <a:srgbClr val="A6A6A6"/>
                </a:solidFill>
                <a:cs typeface="Arial" charset="0"/>
              </a:rPr>
              <a:t>Suite 330</a:t>
            </a:r>
          </a:p>
          <a:p>
            <a:pPr algn="r" defTabSz="457200"/>
            <a:r>
              <a:rPr lang="en-US" sz="1000" dirty="0">
                <a:solidFill>
                  <a:srgbClr val="A6A6A6"/>
                </a:solidFill>
                <a:cs typeface="Arial" charset="0"/>
              </a:rPr>
              <a:t>San Diego, California 92130</a:t>
            </a:r>
          </a:p>
          <a:p>
            <a:pPr algn="r" defTabSz="457200"/>
            <a:r>
              <a:rPr lang="en-US" sz="1000" dirty="0">
                <a:solidFill>
                  <a:srgbClr val="A6A6A6"/>
                </a:solidFill>
                <a:cs typeface="Arial" charset="0"/>
              </a:rPr>
              <a:t>+1 (858) 480 3750 telephone</a:t>
            </a:r>
            <a:br>
              <a:rPr lang="en-US" sz="1000" dirty="0">
                <a:solidFill>
                  <a:srgbClr val="A6A6A6"/>
                </a:solidFill>
                <a:cs typeface="Arial" charset="0"/>
              </a:rPr>
            </a:br>
            <a:r>
              <a:rPr lang="en-US" sz="1000" dirty="0">
                <a:solidFill>
                  <a:srgbClr val="A6A6A6"/>
                </a:solidFill>
                <a:cs typeface="Arial" charset="0"/>
              </a:rPr>
              <a:t>+1 (858) 480 3727 facsimile </a:t>
            </a:r>
          </a:p>
          <a:p>
            <a:pPr algn="r" defTabSz="457200">
              <a:defRPr/>
            </a:pPr>
            <a:r>
              <a:rPr lang="en-US" sz="1000" dirty="0">
                <a:solidFill>
                  <a:srgbClr val="A6A6A6"/>
                </a:solidFill>
                <a:cs typeface="Arial" charset="0"/>
              </a:rPr>
              <a:t>www.operasolutions.com</a:t>
            </a:r>
          </a:p>
          <a:p>
            <a:pPr algn="r" defTabSz="457200">
              <a:defRPr/>
            </a:pPr>
            <a:r>
              <a:rPr lang="en-US" sz="1000" dirty="0">
                <a:solidFill>
                  <a:srgbClr val="A6A6A6"/>
                </a:solidFill>
                <a:cs typeface="Arial" charset="0"/>
              </a:rPr>
              <a:t/>
            </a:r>
            <a:br>
              <a:rPr lang="en-US" sz="1000" dirty="0">
                <a:solidFill>
                  <a:srgbClr val="A6A6A6"/>
                </a:solidFill>
                <a:cs typeface="Arial" charset="0"/>
              </a:rPr>
            </a:br>
            <a:endParaRPr lang="en-US" sz="1000" dirty="0">
              <a:solidFill>
                <a:srgbClr val="A6A6A6"/>
              </a:solidFill>
              <a:cs typeface="Arial" charset="0"/>
            </a:endParaRPr>
          </a:p>
        </p:txBody>
      </p:sp>
      <p:sp>
        <p:nvSpPr>
          <p:cNvPr id="12" name="Picture Placeholder 12"/>
          <p:cNvSpPr>
            <a:spLocks noGrp="1"/>
          </p:cNvSpPr>
          <p:nvPr>
            <p:ph type="pic" sz="quarter" idx="10" hasCustomPrompt="1"/>
          </p:nvPr>
        </p:nvSpPr>
        <p:spPr>
          <a:xfrm>
            <a:off x="6400799" y="2971800"/>
            <a:ext cx="2278063" cy="1662113"/>
          </a:xfrm>
          <a:prstGeom prst="rect">
            <a:avLst/>
          </a:prstGeom>
        </p:spPr>
        <p:txBody>
          <a:bodyPr/>
          <a:lstStyle>
            <a:lvl1pPr marL="0" indent="0" algn="ctr">
              <a:defRPr sz="1400"/>
            </a:lvl1pPr>
          </a:lstStyle>
          <a:p>
            <a:r>
              <a:rPr lang="en-US" dirty="0" smtClean="0"/>
              <a:t>Double click to insert client logo here</a:t>
            </a:r>
            <a:endParaRPr lang="en-US" dirty="0"/>
          </a:p>
        </p:txBody>
      </p:sp>
      <p:sp>
        <p:nvSpPr>
          <p:cNvPr id="8" name="Rectangle 27"/>
          <p:cNvSpPr>
            <a:spLocks noChangeArrowheads="1"/>
          </p:cNvSpPr>
          <p:nvPr>
            <p:custDataLst>
              <p:tags r:id="rId1"/>
            </p:custDataLst>
          </p:nvPr>
        </p:nvSpPr>
        <p:spPr bwMode="auto">
          <a:xfrm>
            <a:off x="457200" y="6248400"/>
            <a:ext cx="5943599" cy="469900"/>
          </a:xfrm>
          <a:prstGeom prst="rect">
            <a:avLst/>
          </a:prstGeom>
          <a:noFill/>
          <a:ln w="9525">
            <a:noFill/>
            <a:miter lim="800000"/>
            <a:headEnd/>
            <a:tailEnd/>
          </a:ln>
        </p:spPr>
        <p:txBody>
          <a:bodyPr lIns="91440" tIns="0" rIns="91440" bIns="0"/>
          <a:lstStyle/>
          <a:p>
            <a:pPr defTabSz="457200" eaLnBrk="0" hangingPunct="0"/>
            <a:r>
              <a:rPr lang="en-GB" altLang="zh-CN" sz="600" dirty="0">
                <a:solidFill>
                  <a:prstClr val="white">
                    <a:lumMod val="65000"/>
                  </a:prstClr>
                </a:solidFill>
                <a:cs typeface="SimSun"/>
              </a:rPr>
              <a:t>NOTICE: Proprietary and Confidential</a:t>
            </a:r>
          </a:p>
          <a:p>
            <a:pPr defTabSz="457200" eaLnBrk="0" hangingPunct="0"/>
            <a:r>
              <a:rPr lang="en-GB" altLang="zh-CN" sz="600" dirty="0">
                <a:solidFill>
                  <a:prstClr val="white">
                    <a:lumMod val="65000"/>
                  </a:prstClr>
                </a:solidFill>
                <a:cs typeface="SimSun"/>
              </a:rPr>
              <a:t>This material is proprietary to Opera Solutions. It contains trade secrets and confidential information which is sole property of Opera Solutions. This material is solely for the Client</a:t>
            </a:r>
            <a:r>
              <a:rPr lang="en-GB" altLang="zh-CN" sz="600" dirty="0">
                <a:solidFill>
                  <a:prstClr val="white">
                    <a:lumMod val="65000"/>
                  </a:prstClr>
                </a:solidFill>
                <a:latin typeface="Verdana" pitchFamily="34" charset="0"/>
                <a:cs typeface="SimSun"/>
              </a:rPr>
              <a:t>’</a:t>
            </a:r>
            <a:r>
              <a:rPr lang="en-GB" altLang="zh-CN" sz="600" dirty="0">
                <a:solidFill>
                  <a:prstClr val="white">
                    <a:lumMod val="65000"/>
                  </a:prstClr>
                </a:solidFill>
                <a:cs typeface="SimSun"/>
              </a:rPr>
              <a:t>s internal use. This material shall not be used, reproduced, copied, disclosed, transmitted, in whole or in part, without the express written consent of Opera Solutions.</a:t>
            </a:r>
          </a:p>
          <a:p>
            <a:pPr defTabSz="457200" eaLnBrk="0" hangingPunct="0"/>
            <a:r>
              <a:rPr lang="en-IN" altLang="zh-CN" sz="600">
                <a:solidFill>
                  <a:prstClr val="white">
                    <a:lumMod val="65000"/>
                  </a:prstClr>
                </a:solidFill>
                <a:latin typeface="Verdana" pitchFamily="34" charset="0"/>
                <a:cs typeface="SimSun"/>
              </a:rPr>
              <a:t>© 2015 Opera Solutions, LLC. All rights reserved.</a:t>
            </a:r>
            <a:endParaRPr lang="en-GB" altLang="zh-CN" sz="600" dirty="0">
              <a:solidFill>
                <a:prstClr val="white">
                  <a:lumMod val="65000"/>
                </a:prstClr>
              </a:solidFill>
              <a:cs typeface="SimSun"/>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6039" r="4404"/>
          <a:stretch/>
        </p:blipFill>
        <p:spPr>
          <a:xfrm>
            <a:off x="188452" y="188458"/>
            <a:ext cx="2794000" cy="1607760"/>
          </a:xfrm>
          <a:prstGeom prst="rect">
            <a:avLst/>
          </a:prstGeom>
        </p:spPr>
      </p:pic>
    </p:spTree>
    <p:extLst>
      <p:ext uri="{BB962C8B-B14F-4D97-AF65-F5344CB8AC3E}">
        <p14:creationId xmlns:p14="http://schemas.microsoft.com/office/powerpoint/2010/main" val="333583599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ver_New Delhi">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971800"/>
            <a:ext cx="5791200" cy="970430"/>
          </a:xfrm>
        </p:spPr>
        <p:txBody>
          <a:bodyPr anchor="ctr">
            <a:normAutofit/>
          </a:bodyPr>
          <a:lstStyle>
            <a:lvl1pPr algn="l">
              <a:defRPr sz="3200" b="1">
                <a:solidFill>
                  <a:srgbClr val="009EDB"/>
                </a:solidFill>
              </a:defRPr>
            </a:lvl1pPr>
          </a:lstStyle>
          <a:p>
            <a:r>
              <a:rPr lang="en-US" dirty="0" smtClean="0"/>
              <a:t>Click to Edit Master Title</a:t>
            </a:r>
            <a:endParaRPr lang="en-US" dirty="0"/>
          </a:p>
        </p:txBody>
      </p:sp>
      <p:sp>
        <p:nvSpPr>
          <p:cNvPr id="3" name="Subtitle 2"/>
          <p:cNvSpPr>
            <a:spLocks noGrp="1"/>
          </p:cNvSpPr>
          <p:nvPr>
            <p:ph type="subTitle" idx="1"/>
          </p:nvPr>
        </p:nvSpPr>
        <p:spPr>
          <a:xfrm>
            <a:off x="457200" y="3962400"/>
            <a:ext cx="5791337" cy="672164"/>
          </a:xfrm>
          <a:prstGeom prst="rect">
            <a:avLst/>
          </a:prstGeom>
        </p:spPr>
        <p:txBody>
          <a:bodyPr>
            <a:normAutofit/>
          </a:bodyPr>
          <a:lstStyle>
            <a:lvl1pPr marL="0" indent="0" algn="l">
              <a:buNone/>
              <a:defRPr sz="1800" i="0">
                <a:solidFill>
                  <a:srgbClr val="55555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Rectangle 8"/>
          <p:cNvSpPr>
            <a:spLocks noChangeArrowheads="1"/>
          </p:cNvSpPr>
          <p:nvPr/>
        </p:nvSpPr>
        <p:spPr bwMode="auto">
          <a:xfrm>
            <a:off x="6705600" y="382644"/>
            <a:ext cx="1943100" cy="1477328"/>
          </a:xfrm>
          <a:prstGeom prst="rect">
            <a:avLst/>
          </a:prstGeom>
          <a:noFill/>
          <a:ln w="9525">
            <a:noFill/>
            <a:miter lim="800000"/>
            <a:headEnd/>
            <a:tailEnd/>
          </a:ln>
          <a:effectLst/>
        </p:spPr>
        <p:txBody>
          <a:bodyPr wrap="square">
            <a:spAutoFit/>
          </a:bodyPr>
          <a:lstStyle/>
          <a:p>
            <a:pPr algn="r" defTabSz="457200"/>
            <a:r>
              <a:rPr lang="en-US" sz="1000" b="1" dirty="0">
                <a:solidFill>
                  <a:srgbClr val="A6A6A6"/>
                </a:solidFill>
                <a:cs typeface="Arial" charset="0"/>
              </a:rPr>
              <a:t>Opera Solutions, LLC</a:t>
            </a:r>
            <a:r>
              <a:rPr lang="en-US" sz="1000" dirty="0">
                <a:solidFill>
                  <a:srgbClr val="A6A6A6"/>
                </a:solidFill>
                <a:cs typeface="Arial" charset="0"/>
              </a:rPr>
              <a:t/>
            </a:r>
            <a:br>
              <a:rPr lang="en-US" sz="1000" dirty="0">
                <a:solidFill>
                  <a:srgbClr val="A6A6A6"/>
                </a:solidFill>
                <a:cs typeface="Arial" charset="0"/>
              </a:rPr>
            </a:br>
            <a:r>
              <a:rPr lang="en-US" sz="1000" dirty="0">
                <a:solidFill>
                  <a:srgbClr val="A6A6A6"/>
                </a:solidFill>
              </a:rPr>
              <a:t>Floor 6</a:t>
            </a:r>
            <a:br>
              <a:rPr lang="en-US" sz="1000" dirty="0">
                <a:solidFill>
                  <a:srgbClr val="A6A6A6"/>
                </a:solidFill>
              </a:rPr>
            </a:br>
            <a:r>
              <a:rPr lang="en-US" sz="1000" dirty="0">
                <a:solidFill>
                  <a:srgbClr val="A6A6A6"/>
                </a:solidFill>
              </a:rPr>
              <a:t>Express Trade Tower – 1</a:t>
            </a:r>
            <a:br>
              <a:rPr lang="en-US" sz="1000" dirty="0">
                <a:solidFill>
                  <a:srgbClr val="A6A6A6"/>
                </a:solidFill>
              </a:rPr>
            </a:br>
            <a:r>
              <a:rPr lang="en-US" sz="1000" dirty="0">
                <a:solidFill>
                  <a:srgbClr val="A6A6A6"/>
                </a:solidFill>
              </a:rPr>
              <a:t>Plot No. 15-16</a:t>
            </a:r>
            <a:br>
              <a:rPr lang="en-US" sz="1000" dirty="0">
                <a:solidFill>
                  <a:srgbClr val="A6A6A6"/>
                </a:solidFill>
              </a:rPr>
            </a:br>
            <a:r>
              <a:rPr lang="en-US" sz="1000" dirty="0">
                <a:solidFill>
                  <a:srgbClr val="A6A6A6"/>
                </a:solidFill>
              </a:rPr>
              <a:t>Sector 16A</a:t>
            </a:r>
            <a:br>
              <a:rPr lang="en-US" sz="1000" dirty="0">
                <a:solidFill>
                  <a:srgbClr val="A6A6A6"/>
                </a:solidFill>
              </a:rPr>
            </a:br>
            <a:r>
              <a:rPr lang="en-US" sz="1000" dirty="0" err="1">
                <a:solidFill>
                  <a:srgbClr val="A6A6A6"/>
                </a:solidFill>
              </a:rPr>
              <a:t>Noida</a:t>
            </a:r>
            <a:r>
              <a:rPr lang="en-US" sz="1000" dirty="0">
                <a:solidFill>
                  <a:srgbClr val="A6A6A6"/>
                </a:solidFill>
              </a:rPr>
              <a:t> 201 301</a:t>
            </a:r>
          </a:p>
          <a:p>
            <a:pPr algn="r" defTabSz="457200"/>
            <a:r>
              <a:rPr lang="en-US" sz="1000" dirty="0">
                <a:solidFill>
                  <a:srgbClr val="A6A6A6"/>
                </a:solidFill>
              </a:rPr>
              <a:t>+91 (120) 4642400 telephone</a:t>
            </a:r>
          </a:p>
          <a:p>
            <a:pPr algn="r" defTabSz="457200"/>
            <a:r>
              <a:rPr lang="en-US" sz="1000" dirty="0">
                <a:solidFill>
                  <a:srgbClr val="A6A6A6"/>
                </a:solidFill>
              </a:rPr>
              <a:t>+91 (120) 4642424 facsimile</a:t>
            </a:r>
          </a:p>
          <a:p>
            <a:pPr algn="r" defTabSz="457200"/>
            <a:r>
              <a:rPr lang="en-US" sz="1000" dirty="0">
                <a:solidFill>
                  <a:srgbClr val="A6A6A6"/>
                </a:solidFill>
              </a:rPr>
              <a:t>www.operasolutions.com</a:t>
            </a:r>
          </a:p>
        </p:txBody>
      </p:sp>
      <p:sp>
        <p:nvSpPr>
          <p:cNvPr id="12" name="Picture Placeholder 12"/>
          <p:cNvSpPr>
            <a:spLocks noGrp="1"/>
          </p:cNvSpPr>
          <p:nvPr>
            <p:ph type="pic" sz="quarter" idx="10" hasCustomPrompt="1"/>
          </p:nvPr>
        </p:nvSpPr>
        <p:spPr>
          <a:xfrm>
            <a:off x="6400799" y="2971800"/>
            <a:ext cx="2278063" cy="1662113"/>
          </a:xfrm>
          <a:prstGeom prst="rect">
            <a:avLst/>
          </a:prstGeom>
        </p:spPr>
        <p:txBody>
          <a:bodyPr/>
          <a:lstStyle>
            <a:lvl1pPr marL="0" indent="0" algn="ctr">
              <a:defRPr sz="1400"/>
            </a:lvl1pPr>
          </a:lstStyle>
          <a:p>
            <a:r>
              <a:rPr lang="en-US" dirty="0" smtClean="0"/>
              <a:t>Double click to insert client logo here</a:t>
            </a:r>
            <a:endParaRPr lang="en-US" dirty="0"/>
          </a:p>
        </p:txBody>
      </p:sp>
      <p:sp>
        <p:nvSpPr>
          <p:cNvPr id="8" name="Rectangle 27"/>
          <p:cNvSpPr>
            <a:spLocks noChangeArrowheads="1"/>
          </p:cNvSpPr>
          <p:nvPr>
            <p:custDataLst>
              <p:tags r:id="rId1"/>
            </p:custDataLst>
          </p:nvPr>
        </p:nvSpPr>
        <p:spPr bwMode="auto">
          <a:xfrm>
            <a:off x="457200" y="6248400"/>
            <a:ext cx="5943599" cy="469900"/>
          </a:xfrm>
          <a:prstGeom prst="rect">
            <a:avLst/>
          </a:prstGeom>
          <a:noFill/>
          <a:ln w="9525">
            <a:noFill/>
            <a:miter lim="800000"/>
            <a:headEnd/>
            <a:tailEnd/>
          </a:ln>
        </p:spPr>
        <p:txBody>
          <a:bodyPr lIns="91440" tIns="0" rIns="91440" bIns="0"/>
          <a:lstStyle/>
          <a:p>
            <a:pPr defTabSz="457200" eaLnBrk="0" hangingPunct="0"/>
            <a:r>
              <a:rPr lang="en-GB" altLang="zh-CN" sz="600" dirty="0">
                <a:solidFill>
                  <a:prstClr val="white">
                    <a:lumMod val="65000"/>
                  </a:prstClr>
                </a:solidFill>
                <a:cs typeface="SimSun"/>
              </a:rPr>
              <a:t>NOTICE: Proprietary and Confidential</a:t>
            </a:r>
          </a:p>
          <a:p>
            <a:pPr defTabSz="457200" eaLnBrk="0" hangingPunct="0"/>
            <a:r>
              <a:rPr lang="en-GB" altLang="zh-CN" sz="600" dirty="0">
                <a:solidFill>
                  <a:prstClr val="white">
                    <a:lumMod val="65000"/>
                  </a:prstClr>
                </a:solidFill>
                <a:cs typeface="SimSun"/>
              </a:rPr>
              <a:t>This material is proprietary to Opera Solutions. It contains trade secrets and confidential information which is sole property of Opera Solutions. This material is solely for the Client</a:t>
            </a:r>
            <a:r>
              <a:rPr lang="en-GB" altLang="zh-CN" sz="600" dirty="0">
                <a:solidFill>
                  <a:prstClr val="white">
                    <a:lumMod val="65000"/>
                  </a:prstClr>
                </a:solidFill>
                <a:latin typeface="Verdana" pitchFamily="34" charset="0"/>
                <a:cs typeface="SimSun"/>
              </a:rPr>
              <a:t>’</a:t>
            </a:r>
            <a:r>
              <a:rPr lang="en-GB" altLang="zh-CN" sz="600" dirty="0">
                <a:solidFill>
                  <a:prstClr val="white">
                    <a:lumMod val="65000"/>
                  </a:prstClr>
                </a:solidFill>
                <a:cs typeface="SimSun"/>
              </a:rPr>
              <a:t>s internal use. This material shall not be used, reproduced, copied, disclosed, transmitted, in whole or in part, without the express written consent of Opera Solutions.</a:t>
            </a:r>
          </a:p>
          <a:p>
            <a:pPr defTabSz="457200" eaLnBrk="0" hangingPunct="0"/>
            <a:r>
              <a:rPr lang="en-IN" altLang="zh-CN" sz="600">
                <a:solidFill>
                  <a:prstClr val="white">
                    <a:lumMod val="65000"/>
                  </a:prstClr>
                </a:solidFill>
                <a:latin typeface="Verdana" pitchFamily="34" charset="0"/>
                <a:cs typeface="SimSun"/>
              </a:rPr>
              <a:t>© 2015 Opera Solutions, LLC. All rights reserved.</a:t>
            </a:r>
            <a:endParaRPr lang="en-GB" altLang="zh-CN" sz="600" dirty="0">
              <a:solidFill>
                <a:prstClr val="white">
                  <a:lumMod val="65000"/>
                </a:prstClr>
              </a:solidFill>
              <a:cs typeface="SimSun"/>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6039" r="4404"/>
          <a:stretch/>
        </p:blipFill>
        <p:spPr>
          <a:xfrm>
            <a:off x="188452" y="188458"/>
            <a:ext cx="2794000" cy="1607760"/>
          </a:xfrm>
          <a:prstGeom prst="rect">
            <a:avLst/>
          </a:prstGeom>
        </p:spPr>
      </p:pic>
    </p:spTree>
    <p:extLst>
      <p:ext uri="{BB962C8B-B14F-4D97-AF65-F5344CB8AC3E}">
        <p14:creationId xmlns:p14="http://schemas.microsoft.com/office/powerpoint/2010/main" val="5745479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over_Shanghai">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971800"/>
            <a:ext cx="5791200" cy="970430"/>
          </a:xfrm>
        </p:spPr>
        <p:txBody>
          <a:bodyPr anchor="ctr">
            <a:normAutofit/>
          </a:bodyPr>
          <a:lstStyle>
            <a:lvl1pPr algn="l">
              <a:defRPr sz="3200" b="1"/>
            </a:lvl1pPr>
          </a:lstStyle>
          <a:p>
            <a:r>
              <a:rPr lang="en-US" dirty="0" smtClean="0"/>
              <a:t>Click to Edit Master Title</a:t>
            </a:r>
            <a:endParaRPr lang="en-US" dirty="0"/>
          </a:p>
        </p:txBody>
      </p:sp>
      <p:sp>
        <p:nvSpPr>
          <p:cNvPr id="3" name="Subtitle 2"/>
          <p:cNvSpPr>
            <a:spLocks noGrp="1"/>
          </p:cNvSpPr>
          <p:nvPr>
            <p:ph type="subTitle" idx="1"/>
          </p:nvPr>
        </p:nvSpPr>
        <p:spPr>
          <a:xfrm>
            <a:off x="457200" y="3962400"/>
            <a:ext cx="5791337" cy="672164"/>
          </a:xfrm>
          <a:prstGeom prst="rect">
            <a:avLst/>
          </a:prstGeom>
        </p:spPr>
        <p:txBody>
          <a:bodyPr>
            <a:normAutofit/>
          </a:bodyPr>
          <a:lstStyle>
            <a:lvl1pPr marL="0" indent="0" algn="l">
              <a:buNone/>
              <a:defRPr sz="1800" i="0">
                <a:solidFill>
                  <a:srgbClr val="55555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8" name="Rectangle 7"/>
          <p:cNvSpPr>
            <a:spLocks noChangeArrowheads="1"/>
          </p:cNvSpPr>
          <p:nvPr/>
        </p:nvSpPr>
        <p:spPr bwMode="auto">
          <a:xfrm>
            <a:off x="5940110" y="382644"/>
            <a:ext cx="2708590" cy="1477328"/>
          </a:xfrm>
          <a:prstGeom prst="rect">
            <a:avLst/>
          </a:prstGeom>
          <a:noFill/>
          <a:ln w="9525">
            <a:noFill/>
            <a:miter lim="800000"/>
            <a:headEnd/>
            <a:tailEnd/>
          </a:ln>
          <a:effectLst/>
        </p:spPr>
        <p:txBody>
          <a:bodyPr wrap="square">
            <a:spAutoFit/>
          </a:bodyPr>
          <a:lstStyle/>
          <a:p>
            <a:pPr algn="r" defTabSz="457200"/>
            <a:r>
              <a:rPr lang="en-US" sz="1000" b="1" dirty="0">
                <a:solidFill>
                  <a:srgbClr val="A6A6A6"/>
                </a:solidFill>
                <a:cs typeface="Arial" charset="0"/>
              </a:rPr>
              <a:t>Opera Solutions, LLC</a:t>
            </a:r>
            <a:br>
              <a:rPr lang="en-US" sz="1000" b="1" dirty="0">
                <a:solidFill>
                  <a:srgbClr val="A6A6A6"/>
                </a:solidFill>
                <a:cs typeface="Arial" charset="0"/>
              </a:rPr>
            </a:br>
            <a:r>
              <a:rPr lang="en-US" sz="1000" dirty="0">
                <a:solidFill>
                  <a:srgbClr val="A6A6A6"/>
                </a:solidFill>
                <a:cs typeface="Arial" charset="0"/>
              </a:rPr>
              <a:t>Yongda International Tower</a:t>
            </a:r>
          </a:p>
          <a:p>
            <a:pPr algn="r" defTabSz="457200"/>
            <a:r>
              <a:rPr lang="en-US" sz="1000" dirty="0">
                <a:solidFill>
                  <a:srgbClr val="A6A6A6"/>
                </a:solidFill>
                <a:cs typeface="Arial" charset="0"/>
              </a:rPr>
              <a:t>18</a:t>
            </a:r>
            <a:r>
              <a:rPr lang="en-US" sz="1000" baseline="30000" dirty="0">
                <a:solidFill>
                  <a:srgbClr val="A6A6A6"/>
                </a:solidFill>
                <a:cs typeface="Arial" charset="0"/>
              </a:rPr>
              <a:t>th</a:t>
            </a:r>
            <a:r>
              <a:rPr lang="en-US" sz="1000" dirty="0">
                <a:solidFill>
                  <a:srgbClr val="A6A6A6"/>
                </a:solidFill>
                <a:cs typeface="Arial" charset="0"/>
              </a:rPr>
              <a:t> Floor</a:t>
            </a:r>
          </a:p>
          <a:p>
            <a:pPr algn="r" defTabSz="457200"/>
            <a:r>
              <a:rPr lang="en-US" sz="1000" dirty="0">
                <a:solidFill>
                  <a:srgbClr val="A6A6A6"/>
                </a:solidFill>
                <a:cs typeface="Arial" charset="0"/>
              </a:rPr>
              <a:t>2277 Longyang Rd. Pudong</a:t>
            </a:r>
          </a:p>
          <a:p>
            <a:pPr algn="r" defTabSz="457200"/>
            <a:r>
              <a:rPr lang="en-US" sz="1000" dirty="0">
                <a:solidFill>
                  <a:srgbClr val="A6A6A6"/>
                </a:solidFill>
                <a:cs typeface="Arial" charset="0"/>
              </a:rPr>
              <a:t>New Area Shanghai PRC 201204</a:t>
            </a:r>
          </a:p>
          <a:p>
            <a:pPr algn="r" defTabSz="457200"/>
            <a:r>
              <a:rPr lang="en-US" sz="1000" dirty="0">
                <a:solidFill>
                  <a:srgbClr val="A6A6A6"/>
                </a:solidFill>
                <a:cs typeface="Arial" charset="0"/>
              </a:rPr>
              <a:t>+86 (0) 21 6859 9001 telephone</a:t>
            </a:r>
          </a:p>
          <a:p>
            <a:pPr algn="r" defTabSz="457200"/>
            <a:r>
              <a:rPr lang="en-US" sz="1000" dirty="0">
                <a:solidFill>
                  <a:srgbClr val="A6A6A6"/>
                </a:solidFill>
                <a:cs typeface="Arial" charset="0"/>
              </a:rPr>
              <a:t>+86 (0) 21 6859 9002 facsimile</a:t>
            </a:r>
          </a:p>
          <a:p>
            <a:pPr algn="r" defTabSz="457200">
              <a:defRPr/>
            </a:pPr>
            <a:r>
              <a:rPr lang="en-US" sz="1000" dirty="0">
                <a:solidFill>
                  <a:srgbClr val="A6A6A6"/>
                </a:solidFill>
                <a:cs typeface="Arial" charset="0"/>
              </a:rPr>
              <a:t> www.operasolutions.com</a:t>
            </a:r>
            <a:br>
              <a:rPr lang="en-US" sz="1000" dirty="0">
                <a:solidFill>
                  <a:srgbClr val="A6A6A6"/>
                </a:solidFill>
                <a:cs typeface="Arial" charset="0"/>
              </a:rPr>
            </a:br>
            <a:endParaRPr lang="en-US" sz="1000" dirty="0">
              <a:solidFill>
                <a:srgbClr val="A6A6A6"/>
              </a:solidFill>
              <a:cs typeface="Arial" charset="0"/>
            </a:endParaRPr>
          </a:p>
        </p:txBody>
      </p:sp>
      <p:sp>
        <p:nvSpPr>
          <p:cNvPr id="12" name="Picture Placeholder 12"/>
          <p:cNvSpPr>
            <a:spLocks noGrp="1"/>
          </p:cNvSpPr>
          <p:nvPr>
            <p:ph type="pic" sz="quarter" idx="10" hasCustomPrompt="1"/>
          </p:nvPr>
        </p:nvSpPr>
        <p:spPr>
          <a:xfrm>
            <a:off x="6400799" y="2971800"/>
            <a:ext cx="2278063" cy="1662113"/>
          </a:xfrm>
          <a:prstGeom prst="rect">
            <a:avLst/>
          </a:prstGeom>
        </p:spPr>
        <p:txBody>
          <a:bodyPr/>
          <a:lstStyle>
            <a:lvl1pPr marL="0" indent="0" algn="ctr">
              <a:defRPr sz="1400"/>
            </a:lvl1pPr>
          </a:lstStyle>
          <a:p>
            <a:r>
              <a:rPr lang="en-US" dirty="0" smtClean="0"/>
              <a:t>Double click to insert client logo here</a:t>
            </a:r>
            <a:endParaRPr lang="en-US" dirty="0"/>
          </a:p>
        </p:txBody>
      </p:sp>
      <p:sp>
        <p:nvSpPr>
          <p:cNvPr id="10" name="Rectangle 27"/>
          <p:cNvSpPr>
            <a:spLocks noChangeArrowheads="1"/>
          </p:cNvSpPr>
          <p:nvPr>
            <p:custDataLst>
              <p:tags r:id="rId1"/>
            </p:custDataLst>
          </p:nvPr>
        </p:nvSpPr>
        <p:spPr bwMode="auto">
          <a:xfrm>
            <a:off x="457200" y="6248400"/>
            <a:ext cx="5943599" cy="469900"/>
          </a:xfrm>
          <a:prstGeom prst="rect">
            <a:avLst/>
          </a:prstGeom>
          <a:noFill/>
          <a:ln w="9525">
            <a:noFill/>
            <a:miter lim="800000"/>
            <a:headEnd/>
            <a:tailEnd/>
          </a:ln>
        </p:spPr>
        <p:txBody>
          <a:bodyPr lIns="91440" tIns="0" rIns="91440" bIns="0"/>
          <a:lstStyle/>
          <a:p>
            <a:pPr defTabSz="457200" eaLnBrk="0" hangingPunct="0"/>
            <a:r>
              <a:rPr lang="en-GB" altLang="zh-CN" sz="600" dirty="0">
                <a:solidFill>
                  <a:prstClr val="white">
                    <a:lumMod val="65000"/>
                  </a:prstClr>
                </a:solidFill>
                <a:cs typeface="SimSun"/>
              </a:rPr>
              <a:t>NOTICE: Proprietary and Confidential</a:t>
            </a:r>
          </a:p>
          <a:p>
            <a:pPr defTabSz="457200" eaLnBrk="0" hangingPunct="0"/>
            <a:r>
              <a:rPr lang="en-GB" altLang="zh-CN" sz="600" dirty="0">
                <a:solidFill>
                  <a:prstClr val="white">
                    <a:lumMod val="65000"/>
                  </a:prstClr>
                </a:solidFill>
                <a:cs typeface="SimSun"/>
              </a:rPr>
              <a:t>This material is proprietary to Opera Solutions. It contains trade secrets and confidential information which is sole property of Opera Solutions. This material is solely for the Client</a:t>
            </a:r>
            <a:r>
              <a:rPr lang="en-GB" altLang="zh-CN" sz="600" dirty="0">
                <a:solidFill>
                  <a:prstClr val="white">
                    <a:lumMod val="65000"/>
                  </a:prstClr>
                </a:solidFill>
                <a:latin typeface="Verdana" pitchFamily="34" charset="0"/>
                <a:cs typeface="SimSun"/>
              </a:rPr>
              <a:t>’</a:t>
            </a:r>
            <a:r>
              <a:rPr lang="en-GB" altLang="zh-CN" sz="600" dirty="0">
                <a:solidFill>
                  <a:prstClr val="white">
                    <a:lumMod val="65000"/>
                  </a:prstClr>
                </a:solidFill>
                <a:cs typeface="SimSun"/>
              </a:rPr>
              <a:t>s internal use. This material shall not be used, reproduced, copied, disclosed, transmitted, in whole or in part, without the express written consent of Opera Solutions.</a:t>
            </a:r>
          </a:p>
          <a:p>
            <a:pPr defTabSz="457200" eaLnBrk="0" hangingPunct="0"/>
            <a:r>
              <a:rPr lang="en-IN" altLang="zh-CN" sz="600">
                <a:solidFill>
                  <a:prstClr val="white">
                    <a:lumMod val="65000"/>
                  </a:prstClr>
                </a:solidFill>
                <a:latin typeface="Verdana" pitchFamily="34" charset="0"/>
                <a:cs typeface="SimSun"/>
              </a:rPr>
              <a:t>© 2015 Opera Solutions, LLC. All rights reserved.</a:t>
            </a:r>
            <a:endParaRPr lang="en-GB" altLang="zh-CN" sz="600" dirty="0">
              <a:solidFill>
                <a:prstClr val="white">
                  <a:lumMod val="65000"/>
                </a:prstClr>
              </a:solidFill>
              <a:cs typeface="SimSun"/>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l="6039" r="4404"/>
          <a:stretch/>
        </p:blipFill>
        <p:spPr>
          <a:xfrm>
            <a:off x="188452" y="188458"/>
            <a:ext cx="2794000" cy="1607760"/>
          </a:xfrm>
          <a:prstGeom prst="rect">
            <a:avLst/>
          </a:prstGeom>
        </p:spPr>
      </p:pic>
    </p:spTree>
    <p:extLst>
      <p:ext uri="{BB962C8B-B14F-4D97-AF65-F5344CB8AC3E}">
        <p14:creationId xmlns:p14="http://schemas.microsoft.com/office/powerpoint/2010/main" val="46766614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36" imgW="360" imgH="360" progId="TCLayout.ActiveDocument.1">
                  <p:embed/>
                </p:oleObj>
              </mc:Choice>
              <mc:Fallback>
                <p:oleObj name="think-cell Slide" r:id="rId36" imgW="360" imgH="360" progId="TCLayout.ActiveDocument.1">
                  <p:embed/>
                  <p:pic>
                    <p:nvPicPr>
                      <p:cNvPr id="0" name=""/>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198438"/>
            <a:ext cx="7162800" cy="563562"/>
          </a:xfrm>
          <a:prstGeom prst="rect">
            <a:avLst/>
          </a:prstGeom>
        </p:spPr>
        <p:txBody>
          <a:bodyPr vert="horz" lIns="91440" tIns="45720" rIns="91440" bIns="45720" rtlCol="0" anchor="ctr">
            <a:noAutofit/>
          </a:bodyPr>
          <a:lstStyle/>
          <a:p>
            <a:r>
              <a:rPr lang="en-US" dirty="0" smtClean="0"/>
              <a:t>Click to Edit Master Title</a:t>
            </a:r>
            <a:endParaRPr lang="en-US" dirty="0"/>
          </a:p>
        </p:txBody>
      </p:sp>
      <p:sp>
        <p:nvSpPr>
          <p:cNvPr id="10" name="TextBox 9"/>
          <p:cNvSpPr txBox="1"/>
          <p:nvPr/>
        </p:nvSpPr>
        <p:spPr>
          <a:xfrm>
            <a:off x="8745538" y="6589713"/>
            <a:ext cx="398462" cy="246062"/>
          </a:xfrm>
          <a:prstGeom prst="rect">
            <a:avLst/>
          </a:prstGeom>
          <a:noFill/>
        </p:spPr>
        <p:txBody>
          <a:bodyPr>
            <a:spAutoFit/>
          </a:bodyPr>
          <a:lstStyle/>
          <a:p>
            <a:pPr defTabSz="457200">
              <a:defRPr/>
            </a:pPr>
            <a:fld id="{821A7F31-15BD-4285-8FB1-8CBE439DCAFD}" type="slidenum">
              <a:rPr lang="en-US" sz="1000">
                <a:solidFill>
                  <a:prstClr val="white">
                    <a:lumMod val="50000"/>
                  </a:prstClr>
                </a:solidFill>
              </a:rPr>
              <a:pPr defTabSz="457200">
                <a:defRPr/>
              </a:pPr>
              <a:t>‹#›</a:t>
            </a:fld>
            <a:endParaRPr lang="en-US" sz="1000" dirty="0">
              <a:solidFill>
                <a:prstClr val="white">
                  <a:lumMod val="50000"/>
                </a:prstClr>
              </a:solidFill>
            </a:endParaRPr>
          </a:p>
        </p:txBody>
      </p:sp>
      <p:sp>
        <p:nvSpPr>
          <p:cNvPr id="13" name="Rectangle 12"/>
          <p:cNvSpPr/>
          <p:nvPr/>
        </p:nvSpPr>
        <p:spPr>
          <a:xfrm>
            <a:off x="457200" y="6589713"/>
            <a:ext cx="2210862" cy="215444"/>
          </a:xfrm>
          <a:prstGeom prst="rect">
            <a:avLst/>
          </a:prstGeom>
        </p:spPr>
        <p:txBody>
          <a:bodyPr wrap="none">
            <a:spAutoFit/>
          </a:bodyPr>
          <a:lstStyle/>
          <a:p>
            <a:pPr defTabSz="457200" eaLnBrk="0" hangingPunct="0">
              <a:defRPr/>
            </a:pPr>
            <a:r>
              <a:rPr lang="en-IN" altLang="zh-CN" sz="800">
                <a:solidFill>
                  <a:prstClr val="white">
                    <a:lumMod val="75000"/>
                  </a:prstClr>
                </a:solidFill>
                <a:cs typeface="SimSun"/>
              </a:rPr>
              <a:t>© 2015 Opera Solutions, LLC. All rights reserved.</a:t>
            </a:r>
            <a:endParaRPr lang="en-GB" altLang="zh-CN" sz="800" dirty="0">
              <a:solidFill>
                <a:prstClr val="white">
                  <a:lumMod val="75000"/>
                </a:prstClr>
              </a:solidFill>
              <a:cs typeface="SimSun"/>
            </a:endParaRPr>
          </a:p>
        </p:txBody>
      </p:sp>
      <p:pic>
        <p:nvPicPr>
          <p:cNvPr id="8" name="Picture 7" descr="opera_logo [Converted].png"/>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7752651" y="329401"/>
            <a:ext cx="1010349" cy="301637"/>
          </a:xfrm>
          <a:prstGeom prst="rect">
            <a:avLst/>
          </a:prstGeom>
        </p:spPr>
      </p:pic>
      <p:pic>
        <p:nvPicPr>
          <p:cNvPr id="7" name="Picture 6" descr="opera_logo [Converted].png"/>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7752651" y="329401"/>
            <a:ext cx="1010349" cy="301637"/>
          </a:xfrm>
          <a:prstGeom prst="rect">
            <a:avLst/>
          </a:prstGeom>
        </p:spPr>
      </p:pic>
    </p:spTree>
    <p:extLst>
      <p:ext uri="{BB962C8B-B14F-4D97-AF65-F5344CB8AC3E}">
        <p14:creationId xmlns:p14="http://schemas.microsoft.com/office/powerpoint/2010/main" val="2647604664"/>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Lst>
  <p:transition>
    <p:fade/>
  </p:transition>
  <p:timing>
    <p:tnLst>
      <p:par>
        <p:cTn id="1" dur="indefinite" restart="never" nodeType="tmRoot"/>
      </p:par>
    </p:tnLst>
  </p:timing>
  <p:hf hdr="0" ftr="0" dt="0"/>
  <p:txStyles>
    <p:titleStyle>
      <a:lvl1pPr algn="l" defTabSz="457200" rtl="0" eaLnBrk="1" latinLnBrk="0" hangingPunct="1">
        <a:spcBef>
          <a:spcPct val="0"/>
        </a:spcBef>
        <a:buNone/>
        <a:defRPr sz="2400" kern="1200">
          <a:solidFill>
            <a:schemeClr val="bg2"/>
          </a:solidFill>
          <a:latin typeface="Calibri"/>
          <a:ea typeface="+mj-ea"/>
          <a:cs typeface="Calibri"/>
        </a:defRPr>
      </a:lvl1pPr>
    </p:titleStyle>
    <p:bodyStyle>
      <a:lvl1pPr marL="342900" indent="-342900" algn="l" defTabSz="457200" rtl="0" eaLnBrk="1" latinLnBrk="0" hangingPunct="1">
        <a:spcBef>
          <a:spcPct val="20000"/>
        </a:spcBef>
        <a:buFont typeface="Arial"/>
        <a:buNone/>
        <a:defRPr sz="1600" b="0" kern="1200">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10" Type="http://schemas.openxmlformats.org/officeDocument/2006/relationships/slideLayout" Target="../slideLayouts/slideLayout2.xml"/><Relationship Id="rId4" Type="http://schemas.openxmlformats.org/officeDocument/2006/relationships/tags" Target="../tags/tag23.xml"/><Relationship Id="rId9" Type="http://schemas.openxmlformats.org/officeDocument/2006/relationships/tags" Target="../tags/tag2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4.emf"/><Relationship Id="rId2" Type="http://schemas.openxmlformats.org/officeDocument/2006/relationships/tags" Target="../tags/tag2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4.xml"/><Relationship Id="rId4" Type="http://schemas.openxmlformats.org/officeDocument/2006/relationships/tags" Target="../tags/tag3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emf"/><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Layout" Target="../slideLayouts/slideLayout2.xml"/><Relationship Id="rId4" Type="http://schemas.openxmlformats.org/officeDocument/2006/relationships/tags" Target="../tags/tag34.xml"/></Relationships>
</file>

<file path=ppt/slides/_rels/slide57.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14.emf"/><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oleObject" Target="../embeddings/oleObject4.bin"/><Relationship Id="rId2" Type="http://schemas.openxmlformats.org/officeDocument/2006/relationships/tags" Target="../tags/tag35.xml"/><Relationship Id="rId1" Type="http://schemas.openxmlformats.org/officeDocument/2006/relationships/vmlDrawing" Target="../drawings/vmlDrawing4.vml"/><Relationship Id="rId6" Type="http://schemas.openxmlformats.org/officeDocument/2006/relationships/tags" Target="../tags/tag39.xml"/><Relationship Id="rId11" Type="http://schemas.openxmlformats.org/officeDocument/2006/relationships/slideLayout" Target="../slideLayouts/slideLayout2.xml"/><Relationship Id="rId5" Type="http://schemas.openxmlformats.org/officeDocument/2006/relationships/tags" Target="../tags/tag38.xml"/><Relationship Id="rId10" Type="http://schemas.openxmlformats.org/officeDocument/2006/relationships/tags" Target="../tags/tag43.xml"/><Relationship Id="rId4" Type="http://schemas.openxmlformats.org/officeDocument/2006/relationships/tags" Target="../tags/tag37.xml"/><Relationship Id="rId9" Type="http://schemas.openxmlformats.org/officeDocument/2006/relationships/tags" Target="../tags/tag42.xml"/></Relationships>
</file>

<file path=ppt/slides/_rels/slide58.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oleObject" Target="../embeddings/oleObject5.bin"/><Relationship Id="rId3" Type="http://schemas.openxmlformats.org/officeDocument/2006/relationships/tags" Target="../tags/tag45.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slideLayout" Target="../slideLayouts/slideLayout2.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1" Type="http://schemas.openxmlformats.org/officeDocument/2006/relationships/vmlDrawing" Target="../drawings/vmlDrawing5.v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10" Type="http://schemas.openxmlformats.org/officeDocument/2006/relationships/tags" Target="../tags/tag52.xml"/><Relationship Id="rId19" Type="http://schemas.openxmlformats.org/officeDocument/2006/relationships/tags" Target="../tags/tag6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image" Target="../media/image14.emf"/></Relationships>
</file>

<file path=ppt/slides/_rels/slide59.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18" Type="http://schemas.openxmlformats.org/officeDocument/2006/relationships/tags" Target="../tags/tag83.xml"/><Relationship Id="rId3" Type="http://schemas.openxmlformats.org/officeDocument/2006/relationships/tags" Target="../tags/tag68.xml"/><Relationship Id="rId21" Type="http://schemas.openxmlformats.org/officeDocument/2006/relationships/tags" Target="../tags/tag86.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tags" Target="../tags/tag82.xml"/><Relationship Id="rId2" Type="http://schemas.openxmlformats.org/officeDocument/2006/relationships/tags" Target="../tags/tag67.xml"/><Relationship Id="rId16" Type="http://schemas.openxmlformats.org/officeDocument/2006/relationships/tags" Target="../tags/tag81.xml"/><Relationship Id="rId20" Type="http://schemas.openxmlformats.org/officeDocument/2006/relationships/tags" Target="../tags/tag85.xml"/><Relationship Id="rId1" Type="http://schemas.openxmlformats.org/officeDocument/2006/relationships/vmlDrawing" Target="../drawings/vmlDrawing6.vml"/><Relationship Id="rId6" Type="http://schemas.openxmlformats.org/officeDocument/2006/relationships/tags" Target="../tags/tag71.xml"/><Relationship Id="rId11" Type="http://schemas.openxmlformats.org/officeDocument/2006/relationships/tags" Target="../tags/tag76.xml"/><Relationship Id="rId24" Type="http://schemas.openxmlformats.org/officeDocument/2006/relationships/image" Target="../media/image14.emf"/><Relationship Id="rId5" Type="http://schemas.openxmlformats.org/officeDocument/2006/relationships/tags" Target="../tags/tag70.xml"/><Relationship Id="rId15" Type="http://schemas.openxmlformats.org/officeDocument/2006/relationships/tags" Target="../tags/tag80.xml"/><Relationship Id="rId23" Type="http://schemas.openxmlformats.org/officeDocument/2006/relationships/oleObject" Target="../embeddings/oleObject6.bin"/><Relationship Id="rId10" Type="http://schemas.openxmlformats.org/officeDocument/2006/relationships/tags" Target="../tags/tag75.xml"/><Relationship Id="rId19" Type="http://schemas.openxmlformats.org/officeDocument/2006/relationships/tags" Target="../tags/tag84.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 Id="rId22"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10" Type="http://schemas.openxmlformats.org/officeDocument/2006/relationships/slideLayout" Target="../slideLayouts/slideLayout3.xml"/><Relationship Id="rId4" Type="http://schemas.openxmlformats.org/officeDocument/2006/relationships/tags" Target="../tags/tag11.xml"/><Relationship Id="rId9" Type="http://schemas.openxmlformats.org/officeDocument/2006/relationships/tags" Target="../tags/tag16.xml"/></Relationships>
</file>

<file path=ppt/slides/_rels/slide6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4.emf"/><Relationship Id="rId2" Type="http://schemas.openxmlformats.org/officeDocument/2006/relationships/tags" Target="../tags/tag8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Layout" Target="../slideLayouts/slideLayout2.xml"/><Relationship Id="rId4" Type="http://schemas.openxmlformats.org/officeDocument/2006/relationships/tags" Target="../tags/tag89.xml"/></Relationships>
</file>

<file path=ppt/slides/_rels/slide61.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8.vml"/><Relationship Id="rId6" Type="http://schemas.openxmlformats.org/officeDocument/2006/relationships/image" Target="../media/image14.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3" Type="http://schemas.openxmlformats.org/officeDocument/2006/relationships/tags" Target="../tags/tag104.xml"/><Relationship Id="rId18" Type="http://schemas.openxmlformats.org/officeDocument/2006/relationships/tags" Target="../tags/tag109.xml"/><Relationship Id="rId26" Type="http://schemas.openxmlformats.org/officeDocument/2006/relationships/tags" Target="../tags/tag117.xml"/><Relationship Id="rId39" Type="http://schemas.openxmlformats.org/officeDocument/2006/relationships/slideLayout" Target="../slideLayouts/slideLayout2.xml"/><Relationship Id="rId21" Type="http://schemas.openxmlformats.org/officeDocument/2006/relationships/tags" Target="../tags/tag112.xml"/><Relationship Id="rId34" Type="http://schemas.openxmlformats.org/officeDocument/2006/relationships/tags" Target="../tags/tag125.xml"/><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tags" Target="../tags/tag124.xml"/><Relationship Id="rId38" Type="http://schemas.openxmlformats.org/officeDocument/2006/relationships/tags" Target="../tags/tag129.xml"/><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tags" Target="../tags/tag111.xml"/><Relationship Id="rId29" Type="http://schemas.openxmlformats.org/officeDocument/2006/relationships/tags" Target="../tags/tag120.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tags" Target="../tags/tag115.xml"/><Relationship Id="rId32" Type="http://schemas.openxmlformats.org/officeDocument/2006/relationships/tags" Target="../tags/tag123.xml"/><Relationship Id="rId37" Type="http://schemas.openxmlformats.org/officeDocument/2006/relationships/tags" Target="../tags/tag128.xml"/><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tags" Target="../tags/tag119.xml"/><Relationship Id="rId36" Type="http://schemas.openxmlformats.org/officeDocument/2006/relationships/tags" Target="../tags/tag127.xml"/><Relationship Id="rId10" Type="http://schemas.openxmlformats.org/officeDocument/2006/relationships/tags" Target="../tags/tag101.xml"/><Relationship Id="rId19" Type="http://schemas.openxmlformats.org/officeDocument/2006/relationships/tags" Target="../tags/tag110.xml"/><Relationship Id="rId31" Type="http://schemas.openxmlformats.org/officeDocument/2006/relationships/tags" Target="../tags/tag122.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tags" Target="../tags/tag118.xml"/><Relationship Id="rId30" Type="http://schemas.openxmlformats.org/officeDocument/2006/relationships/tags" Target="../tags/tag121.xml"/><Relationship Id="rId35" Type="http://schemas.openxmlformats.org/officeDocument/2006/relationships/tags" Target="../tags/tag126.xml"/><Relationship Id="rId8" Type="http://schemas.openxmlformats.org/officeDocument/2006/relationships/tags" Target="../tags/tag99.xml"/><Relationship Id="rId3" Type="http://schemas.openxmlformats.org/officeDocument/2006/relationships/tags" Target="../tags/tag94.xml"/></Relationships>
</file>

<file path=ppt/slides/_rels/slide6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tags" Target="../tags/tag141.xml"/><Relationship Id="rId2" Type="http://schemas.openxmlformats.org/officeDocument/2006/relationships/tags" Target="../tags/tag131.xml"/><Relationship Id="rId16" Type="http://schemas.openxmlformats.org/officeDocument/2006/relationships/slideLayout" Target="../slideLayouts/slideLayout2.xml"/><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tags" Target="../tags/tag140.xml"/><Relationship Id="rId5" Type="http://schemas.openxmlformats.org/officeDocument/2006/relationships/tags" Target="../tags/tag134.xml"/><Relationship Id="rId15" Type="http://schemas.openxmlformats.org/officeDocument/2006/relationships/tags" Target="../tags/tag144.xml"/><Relationship Id="rId10" Type="http://schemas.openxmlformats.org/officeDocument/2006/relationships/tags" Target="../tags/tag139.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bwMode="gray"/>
        <p:txBody>
          <a:bodyPr/>
          <a:lstStyle/>
          <a:p>
            <a:r>
              <a:rPr lang="en-IN" smtClean="0"/>
              <a:t>Hadoop</a:t>
            </a:r>
            <a:endParaRPr lang="en-IN"/>
          </a:p>
        </p:txBody>
      </p:sp>
      <p:sp>
        <p:nvSpPr>
          <p:cNvPr id="5" name="Subtitle 4"/>
          <p:cNvSpPr>
            <a:spLocks noGrp="1"/>
          </p:cNvSpPr>
          <p:nvPr>
            <p:ph type="subTitle" idx="1"/>
          </p:nvPr>
        </p:nvSpPr>
        <p:spPr bwMode="gray"/>
        <p:txBody>
          <a:bodyPr/>
          <a:lstStyle/>
          <a:p>
            <a:r>
              <a:rPr lang="en-IN" smtClean="0"/>
              <a:t>Basic Concepts and Working</a:t>
            </a:r>
            <a:endParaRPr lang="en-IN"/>
          </a:p>
        </p:txBody>
      </p:sp>
    </p:spTree>
    <p:extLst>
      <p:ext uri="{BB962C8B-B14F-4D97-AF65-F5344CB8AC3E}">
        <p14:creationId xmlns:p14="http://schemas.microsoft.com/office/powerpoint/2010/main" val="294934335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dirty="0" smtClean="0"/>
              <a:t>Traditional vs Distributed</a:t>
            </a:r>
            <a:endParaRPr lang="en-IN" dirty="0"/>
          </a:p>
        </p:txBody>
      </p:sp>
      <p:sp>
        <p:nvSpPr>
          <p:cNvPr id="3" name="Content Placeholder 2"/>
          <p:cNvSpPr>
            <a:spLocks noGrp="1"/>
          </p:cNvSpPr>
          <p:nvPr>
            <p:ph type="body" sz="quarter" idx="10"/>
          </p:nvPr>
        </p:nvSpPr>
        <p:spPr bwMode="gray">
          <a:xfrm>
            <a:off x="563530" y="1640944"/>
            <a:ext cx="8275670" cy="3677930"/>
          </a:xfrm>
        </p:spPr>
        <p:txBody>
          <a:bodyPr wrap="square" lIns="0" tIns="0" rIns="0" bIns="0">
            <a:spAutoFit/>
          </a:bodyPr>
          <a:lstStyle/>
          <a:p>
            <a:pPr marL="233363" indent="-233363">
              <a:spcBef>
                <a:spcPts val="1800"/>
              </a:spcBef>
              <a:buFont typeface="Arial" panose="020B0604020202020204" pitchFamily="34" charset="0"/>
              <a:buChar char="›"/>
            </a:pPr>
            <a:r>
              <a:rPr lang="en-IN" sz="2000" dirty="0" smtClean="0">
                <a:solidFill>
                  <a:schemeClr val="tx1"/>
                </a:solidFill>
              </a:rPr>
              <a:t>Scale Vertically</a:t>
            </a:r>
          </a:p>
          <a:p>
            <a:pPr marL="457200" lvl="1" indent="-223838">
              <a:spcBef>
                <a:spcPts val="1200"/>
              </a:spcBef>
            </a:pPr>
            <a:r>
              <a:rPr lang="en-IN" sz="1800" dirty="0" smtClean="0"/>
              <a:t>Increase the server capacity</a:t>
            </a:r>
          </a:p>
          <a:p>
            <a:pPr marL="457200" lvl="1" indent="-223838">
              <a:spcBef>
                <a:spcPts val="1200"/>
              </a:spcBef>
            </a:pPr>
            <a:r>
              <a:rPr lang="en-IN" sz="1800" dirty="0" smtClean="0"/>
              <a:t>Increase memory and processing power</a:t>
            </a:r>
          </a:p>
          <a:p>
            <a:pPr marL="457200" lvl="1" indent="-223838">
              <a:spcBef>
                <a:spcPts val="1200"/>
              </a:spcBef>
            </a:pPr>
            <a:r>
              <a:rPr lang="en-IN" sz="1800" dirty="0" smtClean="0"/>
              <a:t>Very costly (</a:t>
            </a:r>
            <a:r>
              <a:rPr lang="en-IN" sz="1800" dirty="0" err="1" smtClean="0"/>
              <a:t>Eg</a:t>
            </a:r>
            <a:r>
              <a:rPr lang="en-IN" sz="1800" dirty="0" smtClean="0"/>
              <a:t>. Terabyte server)</a:t>
            </a:r>
          </a:p>
          <a:p>
            <a:pPr marL="233363" indent="-233363">
              <a:spcBef>
                <a:spcPts val="1800"/>
              </a:spcBef>
              <a:buFont typeface="Arial" panose="020B0604020202020204" pitchFamily="34" charset="0"/>
              <a:buChar char="›"/>
            </a:pPr>
            <a:r>
              <a:rPr lang="en-IN" sz="2000" dirty="0" smtClean="0">
                <a:solidFill>
                  <a:schemeClr val="tx1"/>
                </a:solidFill>
              </a:rPr>
              <a:t>Scale Horizontally</a:t>
            </a:r>
          </a:p>
          <a:p>
            <a:pPr marL="457200" lvl="1" indent="-223838">
              <a:spcBef>
                <a:spcPts val="1200"/>
              </a:spcBef>
            </a:pPr>
            <a:r>
              <a:rPr lang="en-IN" sz="1800" dirty="0" smtClean="0"/>
              <a:t>Increase number of nodes that process the data</a:t>
            </a:r>
          </a:p>
          <a:p>
            <a:pPr marL="457200" lvl="1" indent="-223838">
              <a:spcBef>
                <a:spcPts val="1200"/>
              </a:spcBef>
            </a:pPr>
            <a:r>
              <a:rPr lang="en-IN" sz="1800" dirty="0" smtClean="0"/>
              <a:t>Cheap commodity hardware</a:t>
            </a:r>
          </a:p>
          <a:p>
            <a:pPr marL="457200" lvl="1" indent="-223838">
              <a:spcBef>
                <a:spcPts val="1200"/>
              </a:spcBef>
            </a:pPr>
            <a:r>
              <a:rPr lang="en-IN" sz="1800" dirty="0" smtClean="0"/>
              <a:t>Map-Reduce allows parallel processing</a:t>
            </a:r>
          </a:p>
        </p:txBody>
      </p:sp>
    </p:spTree>
    <p:extLst>
      <p:ext uri="{BB962C8B-B14F-4D97-AF65-F5344CB8AC3E}">
        <p14:creationId xmlns:p14="http://schemas.microsoft.com/office/powerpoint/2010/main" val="3594239929"/>
      </p:ext>
    </p:extLst>
  </p:cSld>
  <p:clrMapOvr>
    <a:masterClrMapping/>
  </p:clrMapOvr>
  <p:transition>
    <p:fade/>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Specify The Final Output Data Types</a:t>
            </a:r>
            <a:endParaRPr lang="en-IN"/>
          </a:p>
        </p:txBody>
      </p:sp>
      <p:sp>
        <p:nvSpPr>
          <p:cNvPr id="3" name="Rounded Rectangle 2"/>
          <p:cNvSpPr/>
          <p:nvPr/>
        </p:nvSpPr>
        <p:spPr bwMode="gray">
          <a:xfrm>
            <a:off x="554038" y="1307804"/>
            <a:ext cx="8154027" cy="4901609"/>
          </a:xfrm>
          <a:prstGeom prst="roundRect">
            <a:avLst>
              <a:gd name="adj" fmla="val 4303"/>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prstClr val="white">
                    <a:lumMod val="75000"/>
                  </a:prstClr>
                </a:solidFill>
              </a:rPr>
              <a:t>public class WordCount extends Configured implements Tool {</a:t>
            </a:r>
          </a:p>
          <a:p>
            <a:pPr marL="233363"/>
            <a:r>
              <a:rPr lang="en-IN" sz="1100">
                <a:solidFill>
                  <a:prstClr val="white">
                    <a:lumMod val="75000"/>
                  </a:prstClr>
                </a:solidFill>
              </a:rPr>
              <a:t>public int run(String[] args) throws Exception {</a:t>
            </a:r>
          </a:p>
          <a:p>
            <a:pPr marL="233363"/>
            <a:r>
              <a:rPr lang="en-IN" sz="1100">
                <a:solidFill>
                  <a:prstClr val="white">
                    <a:lumMod val="75000"/>
                  </a:prstClr>
                </a:solidFill>
              </a:rPr>
              <a:t>if (args.length != 2) {</a:t>
            </a:r>
          </a:p>
          <a:p>
            <a:pPr marL="233363"/>
            <a:r>
              <a:rPr lang="en-IN" sz="1100">
                <a:solidFill>
                  <a:prstClr val="white">
                    <a:lumMod val="75000"/>
                  </a:prstClr>
                </a:solidFill>
              </a:rPr>
              <a:t>System.out.printf(</a:t>
            </a:r>
          </a:p>
          <a:p>
            <a:pPr marL="233363"/>
            <a:r>
              <a:rPr lang="en-IN" sz="1100">
                <a:solidFill>
                  <a:prstClr val="white">
                    <a:lumMod val="75000"/>
                  </a:prstClr>
                </a:solidFill>
              </a:rPr>
              <a:t>"Usage: %s [generic options] &lt;input dir&gt; &lt;output dir&gt;\n", getClass().getSimpleName());</a:t>
            </a:r>
          </a:p>
          <a:p>
            <a:pPr marL="233363"/>
            <a:r>
              <a:rPr lang="en-IN" sz="1100">
                <a:solidFill>
                  <a:prstClr val="white">
                    <a:lumMod val="75000"/>
                  </a:prstClr>
                </a:solidFill>
              </a:rPr>
              <a:t>ToolRunner.printGenericCommandUsage(System.out);</a:t>
            </a:r>
          </a:p>
          <a:p>
            <a:pPr marL="233363"/>
            <a:r>
              <a:rPr lang="en-IN" sz="1100">
                <a:solidFill>
                  <a:prstClr val="white">
                    <a:lumMod val="75000"/>
                  </a:prstClr>
                </a:solidFill>
              </a:rPr>
              <a:t>return -1;</a:t>
            </a:r>
          </a:p>
          <a:p>
            <a:pPr marL="233363"/>
            <a:r>
              <a:rPr lang="en-IN" sz="1100">
                <a:solidFill>
                  <a:prstClr val="white">
                    <a:lumMod val="75000"/>
                  </a:prstClr>
                </a:solidFill>
              </a:rPr>
              <a:t>}</a:t>
            </a:r>
          </a:p>
          <a:p>
            <a:pPr marL="233363"/>
            <a:r>
              <a:rPr lang="en-IN" sz="1100">
                <a:solidFill>
                  <a:prstClr val="white">
                    <a:lumMod val="75000"/>
                  </a:prstClr>
                </a:solidFill>
              </a:rPr>
              <a:t>JobConf conf = new JobConf(getConf(), WordCount.class);</a:t>
            </a:r>
          </a:p>
          <a:p>
            <a:pPr marL="233363"/>
            <a:r>
              <a:rPr lang="en-IN" sz="1100">
                <a:solidFill>
                  <a:prstClr val="white">
                    <a:lumMod val="75000"/>
                  </a:prstClr>
                </a:solidFill>
              </a:rPr>
              <a:t>conf.setJobName(this.getClass().getName());</a:t>
            </a:r>
          </a:p>
          <a:p>
            <a:pPr marL="233363"/>
            <a:r>
              <a:rPr lang="en-IN" sz="1100">
                <a:solidFill>
                  <a:prstClr val="white">
                    <a:lumMod val="75000"/>
                  </a:prstClr>
                </a:solidFill>
              </a:rPr>
              <a:t>FileInputFormat.setInputPaths(conf, new Path(args[0]));</a:t>
            </a:r>
          </a:p>
          <a:p>
            <a:pPr marL="233363"/>
            <a:r>
              <a:rPr lang="en-IN" sz="1100">
                <a:solidFill>
                  <a:prstClr val="white">
                    <a:lumMod val="75000"/>
                  </a:prstClr>
                </a:solidFill>
              </a:rPr>
              <a:t>FileOutputFormat.setOutputPath(conf, new Path(args[1]));</a:t>
            </a:r>
          </a:p>
          <a:p>
            <a:pPr marL="233363"/>
            <a:r>
              <a:rPr lang="en-IN" sz="1100">
                <a:solidFill>
                  <a:prstClr val="white">
                    <a:lumMod val="75000"/>
                  </a:prstClr>
                </a:solidFill>
              </a:rPr>
              <a:t>conf.setMapperClass(WordMapper.class);</a:t>
            </a:r>
          </a:p>
          <a:p>
            <a:pPr marL="233363"/>
            <a:r>
              <a:rPr lang="en-IN" sz="1100">
                <a:solidFill>
                  <a:prstClr val="white">
                    <a:lumMod val="75000"/>
                  </a:prstClr>
                </a:solidFill>
              </a:rPr>
              <a:t>conf.setReducerClass(SumReducer.class);</a:t>
            </a:r>
          </a:p>
          <a:p>
            <a:pPr marL="233363"/>
            <a:r>
              <a:rPr lang="en-IN" sz="1100">
                <a:solidFill>
                  <a:prstClr val="white">
                    <a:lumMod val="75000"/>
                  </a:prstClr>
                </a:solidFill>
              </a:rPr>
              <a:t>conf.setMapOutputKeyClass(Text.class);</a:t>
            </a:r>
          </a:p>
          <a:p>
            <a:pPr marL="233363"/>
            <a:r>
              <a:rPr lang="en-IN" sz="1100">
                <a:solidFill>
                  <a:prstClr val="white">
                    <a:lumMod val="75000"/>
                  </a:prstClr>
                </a:solidFill>
              </a:rPr>
              <a:t>conf.setMapOutputValueClass(IntWritable.class);</a:t>
            </a:r>
          </a:p>
          <a:p>
            <a:pPr marL="233363"/>
            <a:r>
              <a:rPr lang="en-IN" sz="1100">
                <a:solidFill>
                  <a:srgbClr val="000000"/>
                </a:solidFill>
              </a:rPr>
              <a:t>conf.setOutputKeyClass(Text.class);</a:t>
            </a:r>
          </a:p>
          <a:p>
            <a:pPr marL="233363"/>
            <a:r>
              <a:rPr lang="en-IN" sz="1100">
                <a:solidFill>
                  <a:srgbClr val="000000"/>
                </a:solidFill>
              </a:rPr>
              <a:t>conf.setOutputValueClass(IntWritable.class);</a:t>
            </a:r>
          </a:p>
          <a:p>
            <a:pPr marL="233363"/>
            <a:r>
              <a:rPr lang="en-IN" sz="1100">
                <a:solidFill>
                  <a:prstClr val="white">
                    <a:lumMod val="75000"/>
                  </a:prstClr>
                </a:solidFill>
              </a:rPr>
              <a:t>JobClient.runJob(conf);</a:t>
            </a:r>
          </a:p>
          <a:p>
            <a:pPr marL="233363"/>
            <a:r>
              <a:rPr lang="en-IN" sz="1100">
                <a:solidFill>
                  <a:prstClr val="white">
                    <a:lumMod val="75000"/>
                  </a:prstClr>
                </a:solidFill>
              </a:rPr>
              <a:t>return 0;</a:t>
            </a:r>
          </a:p>
          <a:p>
            <a:pPr marL="233363"/>
            <a:r>
              <a:rPr lang="en-IN" sz="1100">
                <a:solidFill>
                  <a:prstClr val="white">
                    <a:lumMod val="75000"/>
                  </a:prstClr>
                </a:solidFill>
              </a:rPr>
              <a:t>}</a:t>
            </a:r>
          </a:p>
          <a:p>
            <a:pPr marL="233363"/>
            <a:r>
              <a:rPr lang="en-IN" sz="1100">
                <a:solidFill>
                  <a:prstClr val="white">
                    <a:lumMod val="75000"/>
                  </a:prstClr>
                </a:solidFill>
              </a:rPr>
              <a:t>public static void main(String[] args) throws Exception {</a:t>
            </a:r>
          </a:p>
          <a:p>
            <a:pPr marL="233363"/>
            <a:r>
              <a:rPr lang="en-IN" sz="1100">
                <a:solidFill>
                  <a:prstClr val="white">
                    <a:lumMod val="75000"/>
                  </a:prstClr>
                </a:solidFill>
              </a:rPr>
              <a:t>int exitCode = ToolRunner.run(new WordCount(), args);</a:t>
            </a:r>
          </a:p>
          <a:p>
            <a:pPr marL="233363"/>
            <a:r>
              <a:rPr lang="en-IN" sz="1100">
                <a:solidFill>
                  <a:prstClr val="white">
                    <a:lumMod val="75000"/>
                  </a:prstClr>
                </a:solidFill>
              </a:rPr>
              <a:t>System.exit(exitCode);</a:t>
            </a:r>
          </a:p>
          <a:p>
            <a:pPr marL="233363"/>
            <a:r>
              <a:rPr lang="en-IN" sz="1100">
                <a:solidFill>
                  <a:prstClr val="white">
                    <a:lumMod val="75000"/>
                  </a:prstClr>
                </a:solidFill>
              </a:rPr>
              <a:t>}</a:t>
            </a:r>
          </a:p>
          <a:p>
            <a:pPr marL="233363"/>
            <a:r>
              <a:rPr lang="en-IN" sz="1100">
                <a:solidFill>
                  <a:prstClr val="white">
                    <a:lumMod val="75000"/>
                  </a:prstClr>
                </a:solidFill>
              </a:rPr>
              <a:t>}</a:t>
            </a:r>
          </a:p>
        </p:txBody>
      </p:sp>
      <p:sp>
        <p:nvSpPr>
          <p:cNvPr id="4" name="Rounded Rectangle 3"/>
          <p:cNvSpPr/>
          <p:nvPr/>
        </p:nvSpPr>
        <p:spPr bwMode="gray">
          <a:xfrm>
            <a:off x="1414130" y="4636124"/>
            <a:ext cx="5932968" cy="476726"/>
          </a:xfrm>
          <a:prstGeom prst="roundRect">
            <a:avLst/>
          </a:prstGeom>
          <a:solidFill>
            <a:schemeClr val="bg1"/>
          </a:solidFill>
          <a:ln>
            <a:solidFill>
              <a:schemeClr val="bg1">
                <a:lumMod val="65000"/>
              </a:schemeClr>
            </a:solidFill>
          </a:ln>
        </p:spPr>
        <p:txBody>
          <a:bodyPr wrap="square" lIns="182880" tIns="91440" rIns="182880" bIns="91440">
            <a:spAutoFit/>
          </a:bodyPr>
          <a:lstStyle/>
          <a:p>
            <a:r>
              <a:rPr lang="en-IN" sz="1600"/>
              <a:t>Specify the types of the Reducer’s output key and value.</a:t>
            </a:r>
          </a:p>
        </p:txBody>
      </p:sp>
    </p:spTree>
    <p:extLst>
      <p:ext uri="{BB962C8B-B14F-4D97-AF65-F5344CB8AC3E}">
        <p14:creationId xmlns:p14="http://schemas.microsoft.com/office/powerpoint/2010/main" val="4170683898"/>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Running The Job</a:t>
            </a:r>
            <a:endParaRPr lang="en-IN"/>
          </a:p>
        </p:txBody>
      </p:sp>
      <p:sp>
        <p:nvSpPr>
          <p:cNvPr id="3" name="Rounded Rectangle 2"/>
          <p:cNvSpPr/>
          <p:nvPr/>
        </p:nvSpPr>
        <p:spPr bwMode="gray">
          <a:xfrm>
            <a:off x="554038" y="1307804"/>
            <a:ext cx="8154027" cy="4901609"/>
          </a:xfrm>
          <a:prstGeom prst="roundRect">
            <a:avLst>
              <a:gd name="adj" fmla="val 3869"/>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9863"/>
            <a:r>
              <a:rPr lang="en-IN" sz="1100">
                <a:solidFill>
                  <a:srgbClr val="666666"/>
                </a:solidFill>
              </a:rPr>
              <a:t>public class WordCount extends Configured implements Tool {</a:t>
            </a:r>
          </a:p>
          <a:p>
            <a:pPr marL="169863"/>
            <a:r>
              <a:rPr lang="en-IN" sz="1100">
                <a:solidFill>
                  <a:srgbClr val="666666"/>
                </a:solidFill>
              </a:rPr>
              <a:t>public int run(String[] args) throws Exception {</a:t>
            </a:r>
          </a:p>
          <a:p>
            <a:pPr marL="169863"/>
            <a:r>
              <a:rPr lang="en-IN" sz="1100">
                <a:solidFill>
                  <a:srgbClr val="666666"/>
                </a:solidFill>
              </a:rPr>
              <a:t>if (args.length != 2) {</a:t>
            </a:r>
          </a:p>
          <a:p>
            <a:pPr marL="169863"/>
            <a:r>
              <a:rPr lang="en-IN" sz="1100">
                <a:solidFill>
                  <a:srgbClr val="666666"/>
                </a:solidFill>
              </a:rPr>
              <a:t>System.out.printf(</a:t>
            </a:r>
          </a:p>
          <a:p>
            <a:pPr marL="169863"/>
            <a:r>
              <a:rPr lang="en-IN" sz="1100">
                <a:solidFill>
                  <a:srgbClr val="666666"/>
                </a:solidFill>
              </a:rPr>
              <a:t>"Usage: %s [generic options] &lt;input dir&gt; &lt;output dir&gt;\n", getClass().getSimpleName());</a:t>
            </a:r>
          </a:p>
          <a:p>
            <a:pPr marL="169863"/>
            <a:r>
              <a:rPr lang="en-IN" sz="1100">
                <a:solidFill>
                  <a:srgbClr val="666666"/>
                </a:solidFill>
              </a:rPr>
              <a:t>ToolRunner.printGenericCommandUsage(System.out);</a:t>
            </a:r>
          </a:p>
          <a:p>
            <a:pPr marL="169863"/>
            <a:r>
              <a:rPr lang="en-IN" sz="1100">
                <a:solidFill>
                  <a:srgbClr val="666666"/>
                </a:solidFill>
              </a:rPr>
              <a:t>return -1;</a:t>
            </a:r>
          </a:p>
          <a:p>
            <a:pPr marL="169863"/>
            <a:r>
              <a:rPr lang="en-IN" sz="1100">
                <a:solidFill>
                  <a:srgbClr val="666666"/>
                </a:solidFill>
              </a:rPr>
              <a:t>}</a:t>
            </a:r>
          </a:p>
          <a:p>
            <a:pPr marL="169863"/>
            <a:r>
              <a:rPr lang="en-IN" sz="1100">
                <a:solidFill>
                  <a:srgbClr val="666666"/>
                </a:solidFill>
              </a:rPr>
              <a:t>JobConf conf = new JobConf(getConf(), WordCount.class);</a:t>
            </a:r>
          </a:p>
          <a:p>
            <a:pPr marL="169863"/>
            <a:r>
              <a:rPr lang="en-IN" sz="1100">
                <a:solidFill>
                  <a:srgbClr val="666666"/>
                </a:solidFill>
              </a:rPr>
              <a:t>conf.setJobName(this.getClass().getName());</a:t>
            </a:r>
          </a:p>
          <a:p>
            <a:pPr marL="169863"/>
            <a:r>
              <a:rPr lang="en-IN" sz="1100">
                <a:solidFill>
                  <a:srgbClr val="666666"/>
                </a:solidFill>
              </a:rPr>
              <a:t>FileInputFormat.setInputPaths(conf, new Path(args[0]));</a:t>
            </a:r>
          </a:p>
          <a:p>
            <a:pPr marL="169863"/>
            <a:r>
              <a:rPr lang="en-IN" sz="1100">
                <a:solidFill>
                  <a:srgbClr val="666666"/>
                </a:solidFill>
              </a:rPr>
              <a:t>FileOutputFormat.setOutputPath(conf, new Path(args[1]));</a:t>
            </a:r>
          </a:p>
          <a:p>
            <a:pPr marL="169863"/>
            <a:r>
              <a:rPr lang="en-IN" sz="1100">
                <a:solidFill>
                  <a:srgbClr val="666666"/>
                </a:solidFill>
              </a:rPr>
              <a:t>conf.setMapperClass(WordMapper.class);</a:t>
            </a:r>
          </a:p>
          <a:p>
            <a:pPr marL="169863"/>
            <a:r>
              <a:rPr lang="en-IN" sz="1100">
                <a:solidFill>
                  <a:srgbClr val="666666"/>
                </a:solidFill>
              </a:rPr>
              <a:t>conf.setReducerClass(SumReducer.class);</a:t>
            </a:r>
          </a:p>
          <a:p>
            <a:pPr marL="169863"/>
            <a:r>
              <a:rPr lang="en-IN" sz="1100">
                <a:solidFill>
                  <a:srgbClr val="666666"/>
                </a:solidFill>
              </a:rPr>
              <a:t>conf.setMapOutputKeyClass(Text.class);</a:t>
            </a:r>
          </a:p>
          <a:p>
            <a:pPr marL="169863"/>
            <a:r>
              <a:rPr lang="en-IN" sz="1100">
                <a:solidFill>
                  <a:srgbClr val="666666"/>
                </a:solidFill>
              </a:rPr>
              <a:t>conf.setMapOutputValueClass(IntWritable.class);</a:t>
            </a:r>
          </a:p>
          <a:p>
            <a:pPr marL="169863"/>
            <a:r>
              <a:rPr lang="en-IN" sz="1100">
                <a:solidFill>
                  <a:srgbClr val="666666"/>
                </a:solidFill>
              </a:rPr>
              <a:t>conf.setOutputKeyClass(Text.class);</a:t>
            </a:r>
          </a:p>
          <a:p>
            <a:pPr marL="169863"/>
            <a:r>
              <a:rPr lang="en-IN" sz="1100">
                <a:solidFill>
                  <a:srgbClr val="666666"/>
                </a:solidFill>
              </a:rPr>
              <a:t>conf.setOutputValueClass(IntWritable.class);</a:t>
            </a:r>
          </a:p>
          <a:p>
            <a:pPr marL="169863"/>
            <a:r>
              <a:rPr lang="en-IN" sz="1100">
                <a:solidFill>
                  <a:srgbClr val="000000"/>
                </a:solidFill>
              </a:rPr>
              <a:t>JobClient.runJob(conf);</a:t>
            </a:r>
          </a:p>
          <a:p>
            <a:pPr marL="169863"/>
            <a:r>
              <a:rPr lang="en-IN" sz="1100">
                <a:solidFill>
                  <a:srgbClr val="666666"/>
                </a:solidFill>
              </a:rPr>
              <a:t>return 0;</a:t>
            </a:r>
          </a:p>
          <a:p>
            <a:pPr marL="169863"/>
            <a:r>
              <a:rPr lang="en-IN" sz="1100">
                <a:solidFill>
                  <a:srgbClr val="666666"/>
                </a:solidFill>
              </a:rPr>
              <a:t>}</a:t>
            </a:r>
          </a:p>
          <a:p>
            <a:pPr marL="169863"/>
            <a:r>
              <a:rPr lang="en-IN" sz="1100">
                <a:solidFill>
                  <a:srgbClr val="666666"/>
                </a:solidFill>
              </a:rPr>
              <a:t>public static void main(String[] args) throws Exception {</a:t>
            </a:r>
          </a:p>
          <a:p>
            <a:pPr marL="169863"/>
            <a:r>
              <a:rPr lang="en-IN" sz="1100">
                <a:solidFill>
                  <a:srgbClr val="666666"/>
                </a:solidFill>
              </a:rPr>
              <a:t>int exitCode = ToolRunner.run(new WordCount(), args);</a:t>
            </a:r>
          </a:p>
          <a:p>
            <a:pPr marL="169863"/>
            <a:r>
              <a:rPr lang="en-IN" sz="1100">
                <a:solidFill>
                  <a:srgbClr val="666666"/>
                </a:solidFill>
              </a:rPr>
              <a:t>System.exit(exitCode);</a:t>
            </a:r>
          </a:p>
          <a:p>
            <a:pPr marL="169863"/>
            <a:r>
              <a:rPr lang="en-IN" sz="1100">
                <a:solidFill>
                  <a:srgbClr val="666666"/>
                </a:solidFill>
              </a:rPr>
              <a:t>}</a:t>
            </a:r>
          </a:p>
          <a:p>
            <a:pPr marL="169863"/>
            <a:r>
              <a:rPr lang="en-IN" sz="1100">
                <a:solidFill>
                  <a:srgbClr val="666666"/>
                </a:solidFill>
              </a:rPr>
              <a:t>}</a:t>
            </a:r>
          </a:p>
        </p:txBody>
      </p:sp>
      <p:sp>
        <p:nvSpPr>
          <p:cNvPr id="4" name="Rounded Rectangle 3"/>
          <p:cNvSpPr/>
          <p:nvPr/>
        </p:nvSpPr>
        <p:spPr bwMode="gray">
          <a:xfrm>
            <a:off x="1414130" y="3455910"/>
            <a:ext cx="5932968" cy="476726"/>
          </a:xfrm>
          <a:prstGeom prst="roundRect">
            <a:avLst/>
          </a:prstGeom>
          <a:solidFill>
            <a:schemeClr val="bg1"/>
          </a:solidFill>
          <a:ln>
            <a:solidFill>
              <a:schemeClr val="bg1">
                <a:lumMod val="65000"/>
              </a:schemeClr>
            </a:solidFill>
          </a:ln>
        </p:spPr>
        <p:txBody>
          <a:bodyPr wrap="square" lIns="182880" tIns="91440" rIns="182880" bIns="91440">
            <a:spAutoFit/>
          </a:bodyPr>
          <a:lstStyle/>
          <a:p>
            <a:r>
              <a:rPr lang="en-IN" sz="1600">
                <a:solidFill>
                  <a:srgbClr val="666666"/>
                </a:solidFill>
              </a:rPr>
              <a:t>Specify the types of the Reducer’s output key and value.</a:t>
            </a:r>
          </a:p>
        </p:txBody>
      </p:sp>
    </p:spTree>
    <p:extLst>
      <p:ext uri="{BB962C8B-B14F-4D97-AF65-F5344CB8AC3E}">
        <p14:creationId xmlns:p14="http://schemas.microsoft.com/office/powerpoint/2010/main" val="1136588732"/>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Running The Job (cont’d)</a:t>
            </a:r>
            <a:endParaRPr lang="en-IN"/>
          </a:p>
        </p:txBody>
      </p:sp>
      <p:sp>
        <p:nvSpPr>
          <p:cNvPr id="3" name="Rectangle 2"/>
          <p:cNvSpPr/>
          <p:nvPr/>
        </p:nvSpPr>
        <p:spPr bwMode="gray">
          <a:xfrm>
            <a:off x="554038" y="1858528"/>
            <a:ext cx="8035924" cy="2893100"/>
          </a:xfrm>
          <a:prstGeom prst="rect">
            <a:avLst/>
          </a:prstGeom>
        </p:spPr>
        <p:txBody>
          <a:bodyPr wrap="square" lIns="0" tIns="0" rIns="0" bIns="0">
            <a:spAutoFit/>
          </a:bodyPr>
          <a:lstStyle/>
          <a:p>
            <a:pPr marL="233363" indent="-233363">
              <a:spcBef>
                <a:spcPts val="1800"/>
              </a:spcBef>
              <a:buClr>
                <a:srgbClr val="009EDB"/>
              </a:buClr>
              <a:buSzPct val="125000"/>
              <a:buFont typeface="Calibri" panose="020F0502020204030204" pitchFamily="34" charset="0"/>
              <a:buChar char="›"/>
            </a:pPr>
            <a:r>
              <a:rPr lang="en-IN"/>
              <a:t>There are two ways to run your MapReduce job:</a:t>
            </a:r>
          </a:p>
          <a:p>
            <a:pPr marL="457200" indent="-223838">
              <a:spcBef>
                <a:spcPts val="600"/>
              </a:spcBef>
              <a:buClr>
                <a:srgbClr val="009EDB"/>
              </a:buClr>
              <a:buSzPct val="125000"/>
              <a:buFont typeface="Calibri" panose="020F0502020204030204" pitchFamily="34" charset="0"/>
              <a:buChar char="»"/>
            </a:pPr>
            <a:r>
              <a:rPr lang="en-IN"/>
              <a:t>JobClient.runJob(conf)</a:t>
            </a:r>
          </a:p>
          <a:p>
            <a:pPr marL="690563" indent="-233363">
              <a:spcBef>
                <a:spcPts val="1200"/>
              </a:spcBef>
              <a:buClr>
                <a:srgbClr val="666666"/>
              </a:buClr>
              <a:buSzPct val="125000"/>
              <a:buFont typeface="Calibri" panose="020F0502020204030204" pitchFamily="34" charset="0"/>
              <a:buChar char="›"/>
            </a:pPr>
            <a:r>
              <a:rPr lang="en-IN" sz="1600"/>
              <a:t>Blocks (waits for the job to complete before continuing)</a:t>
            </a:r>
          </a:p>
          <a:p>
            <a:pPr marL="457200" indent="-223838">
              <a:spcBef>
                <a:spcPts val="600"/>
              </a:spcBef>
              <a:buClr>
                <a:srgbClr val="009EDB"/>
              </a:buClr>
              <a:buSzPct val="125000"/>
              <a:buFont typeface="Calibri" panose="020F0502020204030204" pitchFamily="34" charset="0"/>
              <a:buChar char="»"/>
            </a:pPr>
            <a:r>
              <a:rPr lang="en-IN"/>
              <a:t>JobClient.submitJob(conf)</a:t>
            </a:r>
          </a:p>
          <a:p>
            <a:pPr marL="690563" indent="-233363">
              <a:spcBef>
                <a:spcPts val="1200"/>
              </a:spcBef>
              <a:buClr>
                <a:srgbClr val="666666"/>
              </a:buClr>
              <a:buSzPct val="125000"/>
              <a:buFont typeface="Calibri" panose="020F0502020204030204" pitchFamily="34" charset="0"/>
              <a:buChar char="›"/>
            </a:pPr>
            <a:r>
              <a:rPr lang="en-IN" sz="1600"/>
              <a:t>Does not block (driver code continues as the job is running)</a:t>
            </a:r>
          </a:p>
          <a:p>
            <a:pPr marL="233363" indent="-233363">
              <a:spcBef>
                <a:spcPts val="1800"/>
              </a:spcBef>
              <a:buClr>
                <a:srgbClr val="009EDB"/>
              </a:buClr>
              <a:buSzPct val="125000"/>
              <a:buFont typeface="Calibri" panose="020F0502020204030204" pitchFamily="34" charset="0"/>
              <a:buChar char="›"/>
            </a:pPr>
            <a:r>
              <a:rPr lang="en-IN"/>
              <a:t>JobClient determines the proper division of input data into InputSplits</a:t>
            </a:r>
          </a:p>
          <a:p>
            <a:pPr marL="233363" indent="-233363">
              <a:spcBef>
                <a:spcPts val="1800"/>
              </a:spcBef>
              <a:buClr>
                <a:srgbClr val="009EDB"/>
              </a:buClr>
              <a:buSzPct val="125000"/>
              <a:buFont typeface="Calibri" panose="020F0502020204030204" pitchFamily="34" charset="0"/>
              <a:buChar char="›"/>
            </a:pPr>
            <a:r>
              <a:rPr lang="en-IN"/>
              <a:t>JobClient then sends the job information to the JobTracker daemon on the cluster</a:t>
            </a:r>
          </a:p>
        </p:txBody>
      </p:sp>
    </p:spTree>
    <p:extLst>
      <p:ext uri="{BB962C8B-B14F-4D97-AF65-F5344CB8AC3E}">
        <p14:creationId xmlns:p14="http://schemas.microsoft.com/office/powerpoint/2010/main" val="4171949572"/>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Reprise: Driver Code</a:t>
            </a:r>
            <a:endParaRPr lang="en-IN"/>
          </a:p>
        </p:txBody>
      </p:sp>
      <p:sp>
        <p:nvSpPr>
          <p:cNvPr id="3" name="Rounded Rectangle 2"/>
          <p:cNvSpPr/>
          <p:nvPr/>
        </p:nvSpPr>
        <p:spPr bwMode="gray">
          <a:xfrm>
            <a:off x="554038" y="1307804"/>
            <a:ext cx="8154027" cy="4901609"/>
          </a:xfrm>
          <a:prstGeom prst="roundRect">
            <a:avLst>
              <a:gd name="adj" fmla="val 4736"/>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srgbClr val="666666"/>
                </a:solidFill>
              </a:rPr>
              <a:t>public class WordCount extends Configured implements Tool {</a:t>
            </a:r>
          </a:p>
          <a:p>
            <a:pPr marL="233363"/>
            <a:r>
              <a:rPr lang="en-IN" sz="1100">
                <a:solidFill>
                  <a:srgbClr val="666666"/>
                </a:solidFill>
              </a:rPr>
              <a:t>public int run(String[] args) throws Exception {</a:t>
            </a:r>
          </a:p>
          <a:p>
            <a:pPr marL="233363"/>
            <a:r>
              <a:rPr lang="en-IN" sz="1100">
                <a:solidFill>
                  <a:srgbClr val="666666"/>
                </a:solidFill>
              </a:rPr>
              <a:t>if (args.length != 2) {</a:t>
            </a:r>
          </a:p>
          <a:p>
            <a:pPr marL="233363"/>
            <a:r>
              <a:rPr lang="en-IN" sz="1100">
                <a:solidFill>
                  <a:srgbClr val="666666"/>
                </a:solidFill>
              </a:rPr>
              <a:t>System.out.printf(</a:t>
            </a:r>
          </a:p>
          <a:p>
            <a:pPr marL="233363"/>
            <a:r>
              <a:rPr lang="en-IN" sz="1100">
                <a:solidFill>
                  <a:srgbClr val="666666"/>
                </a:solidFill>
              </a:rPr>
              <a:t>"Usage: %s [generic options] &lt;input dir&gt; &lt;output dir&gt;\n", getClass().getSimpleName());</a:t>
            </a:r>
          </a:p>
          <a:p>
            <a:pPr marL="233363"/>
            <a:r>
              <a:rPr lang="en-IN" sz="1100">
                <a:solidFill>
                  <a:srgbClr val="666666"/>
                </a:solidFill>
              </a:rPr>
              <a:t>ToolRunner.printGenericCommandUsage(System.out);</a:t>
            </a:r>
          </a:p>
          <a:p>
            <a:pPr marL="233363"/>
            <a:r>
              <a:rPr lang="en-IN" sz="1100">
                <a:solidFill>
                  <a:srgbClr val="666666"/>
                </a:solidFill>
              </a:rPr>
              <a:t>return -1;</a:t>
            </a:r>
          </a:p>
          <a:p>
            <a:pPr marL="233363"/>
            <a:r>
              <a:rPr lang="en-IN" sz="1100">
                <a:solidFill>
                  <a:srgbClr val="666666"/>
                </a:solidFill>
              </a:rPr>
              <a:t>}</a:t>
            </a:r>
          </a:p>
          <a:p>
            <a:pPr marL="233363"/>
            <a:r>
              <a:rPr lang="en-IN" sz="1100">
                <a:solidFill>
                  <a:srgbClr val="666666"/>
                </a:solidFill>
              </a:rPr>
              <a:t>JobConf conf = new JobConf(getConf(), WordCount.class);</a:t>
            </a:r>
          </a:p>
          <a:p>
            <a:pPr marL="233363"/>
            <a:r>
              <a:rPr lang="en-IN" sz="1100">
                <a:solidFill>
                  <a:srgbClr val="666666"/>
                </a:solidFill>
              </a:rPr>
              <a:t>conf.setJobName(this.getClass().getName());</a:t>
            </a:r>
          </a:p>
          <a:p>
            <a:pPr marL="233363"/>
            <a:r>
              <a:rPr lang="en-IN" sz="1100">
                <a:solidFill>
                  <a:srgbClr val="666666"/>
                </a:solidFill>
              </a:rPr>
              <a:t>FileInputFormat.setInputPaths(conf, new Path(args[0]));</a:t>
            </a:r>
          </a:p>
          <a:p>
            <a:pPr marL="233363"/>
            <a:r>
              <a:rPr lang="en-IN" sz="1100">
                <a:solidFill>
                  <a:srgbClr val="666666"/>
                </a:solidFill>
              </a:rPr>
              <a:t>FileOutputFormat.setOutputPath(conf, new Path(args[1]));</a:t>
            </a:r>
          </a:p>
          <a:p>
            <a:pPr marL="233363"/>
            <a:r>
              <a:rPr lang="en-IN" sz="1100">
                <a:solidFill>
                  <a:srgbClr val="666666"/>
                </a:solidFill>
              </a:rPr>
              <a:t>conf.setMapperClass(WordMapper.class);</a:t>
            </a:r>
          </a:p>
          <a:p>
            <a:pPr marL="233363"/>
            <a:r>
              <a:rPr lang="en-IN" sz="1100">
                <a:solidFill>
                  <a:srgbClr val="666666"/>
                </a:solidFill>
              </a:rPr>
              <a:t>conf.setReducerClass(SumReducer.class);</a:t>
            </a:r>
          </a:p>
          <a:p>
            <a:pPr marL="233363"/>
            <a:r>
              <a:rPr lang="en-IN" sz="1100">
                <a:solidFill>
                  <a:srgbClr val="666666"/>
                </a:solidFill>
              </a:rPr>
              <a:t>conf.setMapOutputKeyClass(Text.class);</a:t>
            </a:r>
          </a:p>
          <a:p>
            <a:pPr marL="233363"/>
            <a:r>
              <a:rPr lang="en-IN" sz="1100">
                <a:solidFill>
                  <a:srgbClr val="666666"/>
                </a:solidFill>
              </a:rPr>
              <a:t>conf.setMapOutputValueClass(IntWritable.class);</a:t>
            </a:r>
          </a:p>
          <a:p>
            <a:pPr marL="233363"/>
            <a:r>
              <a:rPr lang="en-IN" sz="1100">
                <a:solidFill>
                  <a:srgbClr val="666666"/>
                </a:solidFill>
              </a:rPr>
              <a:t>conf.setOutputKeyClass(Text.class);</a:t>
            </a:r>
          </a:p>
          <a:p>
            <a:pPr marL="233363"/>
            <a:r>
              <a:rPr lang="en-IN" sz="1100">
                <a:solidFill>
                  <a:srgbClr val="666666"/>
                </a:solidFill>
              </a:rPr>
              <a:t>conf.setOutputValueClass(IntWritable.class);</a:t>
            </a:r>
          </a:p>
          <a:p>
            <a:pPr marL="233363"/>
            <a:r>
              <a:rPr lang="en-IN" sz="1100">
                <a:solidFill>
                  <a:srgbClr val="666666"/>
                </a:solidFill>
              </a:rPr>
              <a:t>JobClient.runJob(conf);</a:t>
            </a:r>
          </a:p>
          <a:p>
            <a:pPr marL="233363"/>
            <a:r>
              <a:rPr lang="en-IN" sz="1100">
                <a:solidFill>
                  <a:srgbClr val="666666"/>
                </a:solidFill>
              </a:rPr>
              <a:t>return 0;</a:t>
            </a:r>
          </a:p>
          <a:p>
            <a:pPr marL="233363"/>
            <a:r>
              <a:rPr lang="en-IN" sz="1100">
                <a:solidFill>
                  <a:srgbClr val="666666"/>
                </a:solidFill>
              </a:rPr>
              <a:t>}</a:t>
            </a:r>
          </a:p>
          <a:p>
            <a:pPr marL="233363"/>
            <a:r>
              <a:rPr lang="en-IN" sz="1100">
                <a:solidFill>
                  <a:srgbClr val="666666"/>
                </a:solidFill>
              </a:rPr>
              <a:t>public static void main(String[] args) throws Exception {</a:t>
            </a:r>
          </a:p>
          <a:p>
            <a:pPr marL="233363"/>
            <a:r>
              <a:rPr lang="en-IN" sz="1100">
                <a:solidFill>
                  <a:srgbClr val="666666"/>
                </a:solidFill>
              </a:rPr>
              <a:t>int exitCode = ToolRunner.run(new WordCount(), args);</a:t>
            </a:r>
          </a:p>
          <a:p>
            <a:pPr marL="233363"/>
            <a:r>
              <a:rPr lang="en-IN" sz="1100">
                <a:solidFill>
                  <a:srgbClr val="666666"/>
                </a:solidFill>
              </a:rPr>
              <a:t>System.exit(exitCode);</a:t>
            </a:r>
          </a:p>
          <a:p>
            <a:pPr marL="233363"/>
            <a:r>
              <a:rPr lang="en-IN" sz="1100">
                <a:solidFill>
                  <a:srgbClr val="666666"/>
                </a:solidFill>
              </a:rPr>
              <a:t>}</a:t>
            </a:r>
          </a:p>
          <a:p>
            <a:pPr marL="233363"/>
            <a:r>
              <a:rPr lang="en-IN" sz="1100">
                <a:solidFill>
                  <a:srgbClr val="666666"/>
                </a:solidFill>
              </a:rPr>
              <a:t>}</a:t>
            </a:r>
          </a:p>
        </p:txBody>
      </p:sp>
    </p:spTree>
    <p:extLst>
      <p:ext uri="{BB962C8B-B14F-4D97-AF65-F5344CB8AC3E}">
        <p14:creationId xmlns:p14="http://schemas.microsoft.com/office/powerpoint/2010/main" val="4229321324"/>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Mapper: Complete Code</a:t>
            </a:r>
            <a:endParaRPr lang="en-IN"/>
          </a:p>
        </p:txBody>
      </p:sp>
      <p:sp>
        <p:nvSpPr>
          <p:cNvPr id="3" name="Rounded Rectangle 2"/>
          <p:cNvSpPr/>
          <p:nvPr/>
        </p:nvSpPr>
        <p:spPr bwMode="gray">
          <a:xfrm>
            <a:off x="554038" y="1648045"/>
            <a:ext cx="8154027" cy="4221128"/>
          </a:xfrm>
          <a:prstGeom prst="roundRect">
            <a:avLst>
              <a:gd name="adj" fmla="val 4576"/>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srgbClr val="666666"/>
                </a:solidFill>
              </a:rPr>
              <a:t>import java.io.IOException;</a:t>
            </a:r>
          </a:p>
          <a:p>
            <a:pPr marL="233363"/>
            <a:r>
              <a:rPr lang="en-IN" sz="1100">
                <a:solidFill>
                  <a:srgbClr val="666666"/>
                </a:solidFill>
              </a:rPr>
              <a:t>import org.apache.hadoop.io.IntWritable;</a:t>
            </a:r>
          </a:p>
          <a:p>
            <a:pPr marL="233363"/>
            <a:r>
              <a:rPr lang="en-IN" sz="1100">
                <a:solidFill>
                  <a:srgbClr val="666666"/>
                </a:solidFill>
              </a:rPr>
              <a:t>import org.apache.hadoop.io.LongWritable;</a:t>
            </a:r>
          </a:p>
          <a:p>
            <a:pPr marL="233363"/>
            <a:r>
              <a:rPr lang="en-IN" sz="1100">
                <a:solidFill>
                  <a:srgbClr val="666666"/>
                </a:solidFill>
              </a:rPr>
              <a:t>import org.apache.hadoop.io.Text;</a:t>
            </a:r>
          </a:p>
          <a:p>
            <a:pPr marL="233363"/>
            <a:r>
              <a:rPr lang="en-IN" sz="1100">
                <a:solidFill>
                  <a:srgbClr val="666666"/>
                </a:solidFill>
              </a:rPr>
              <a:t>import org.apache.hadoop.mapred.MapReduceBase;</a:t>
            </a:r>
          </a:p>
          <a:p>
            <a:pPr marL="233363"/>
            <a:r>
              <a:rPr lang="en-IN" sz="1100">
                <a:solidFill>
                  <a:srgbClr val="666666"/>
                </a:solidFill>
              </a:rPr>
              <a:t>import org.apache.hadoop.mapred.Mapper;</a:t>
            </a:r>
          </a:p>
          <a:p>
            <a:pPr marL="233363"/>
            <a:r>
              <a:rPr lang="en-IN" sz="1100">
                <a:solidFill>
                  <a:srgbClr val="666666"/>
                </a:solidFill>
              </a:rPr>
              <a:t>import org.apache.hadoop.mapred.OutputCollector;</a:t>
            </a:r>
          </a:p>
          <a:p>
            <a:pPr marL="233363"/>
            <a:r>
              <a:rPr lang="en-IN" sz="1100">
                <a:solidFill>
                  <a:srgbClr val="666666"/>
                </a:solidFill>
              </a:rPr>
              <a:t>import org.apache.hadoop.mapred.Reporter;</a:t>
            </a:r>
          </a:p>
          <a:p>
            <a:pPr marL="233363"/>
            <a:r>
              <a:rPr lang="en-IN" sz="1100">
                <a:solidFill>
                  <a:srgbClr val="666666"/>
                </a:solidFill>
              </a:rPr>
              <a:t>public class WordMapper extends MapReduceBase implements</a:t>
            </a:r>
          </a:p>
          <a:p>
            <a:pPr marL="233363"/>
            <a:r>
              <a:rPr lang="en-IN" sz="1100">
                <a:solidFill>
                  <a:srgbClr val="666666"/>
                </a:solidFill>
              </a:rPr>
              <a:t>Mapper&lt;LongWritable, Text, Text, IntWritable&gt; {</a:t>
            </a:r>
          </a:p>
          <a:p>
            <a:pPr marL="233363"/>
            <a:r>
              <a:rPr lang="en-IN" sz="1100">
                <a:solidFill>
                  <a:srgbClr val="666666"/>
                </a:solidFill>
              </a:rPr>
              <a:t>public void map(LongWritable key, Text value,</a:t>
            </a:r>
          </a:p>
          <a:p>
            <a:pPr marL="233363"/>
            <a:r>
              <a:rPr lang="en-IN" sz="1100">
                <a:solidFill>
                  <a:srgbClr val="666666"/>
                </a:solidFill>
              </a:rPr>
              <a:t>OutputCollector&lt;Text, IntWritable&gt; output, Reporter reporter)</a:t>
            </a:r>
          </a:p>
          <a:p>
            <a:pPr marL="233363"/>
            <a:r>
              <a:rPr lang="en-IN" sz="1100">
                <a:solidFill>
                  <a:srgbClr val="666666"/>
                </a:solidFill>
              </a:rPr>
              <a:t>throws IOException {</a:t>
            </a:r>
          </a:p>
          <a:p>
            <a:pPr marL="233363"/>
            <a:r>
              <a:rPr lang="en-IN" sz="1100">
                <a:solidFill>
                  <a:srgbClr val="666666"/>
                </a:solidFill>
              </a:rPr>
              <a:t>String s = value.toString();</a:t>
            </a:r>
          </a:p>
          <a:p>
            <a:pPr marL="233363"/>
            <a:r>
              <a:rPr lang="en-IN" sz="1100">
                <a:solidFill>
                  <a:srgbClr val="666666"/>
                </a:solidFill>
              </a:rPr>
              <a:t>for (String word : s.split("\\W+")) {</a:t>
            </a:r>
          </a:p>
          <a:p>
            <a:pPr marL="233363"/>
            <a:r>
              <a:rPr lang="en-IN" sz="1100">
                <a:solidFill>
                  <a:srgbClr val="666666"/>
                </a:solidFill>
              </a:rPr>
              <a:t>if (word.length() &gt; 0) {</a:t>
            </a:r>
          </a:p>
          <a:p>
            <a:pPr marL="233363"/>
            <a:r>
              <a:rPr lang="en-IN" sz="1100">
                <a:solidFill>
                  <a:srgbClr val="666666"/>
                </a:solidFill>
              </a:rPr>
              <a:t>output.collect(new Text(word), new IntWritable(1));</a:t>
            </a:r>
          </a:p>
          <a:p>
            <a:pPr marL="233363"/>
            <a:r>
              <a:rPr lang="en-IN" sz="1100">
                <a:solidFill>
                  <a:srgbClr val="666666"/>
                </a:solidFill>
              </a:rPr>
              <a:t>}</a:t>
            </a:r>
          </a:p>
          <a:p>
            <a:pPr marL="233363"/>
            <a:r>
              <a:rPr lang="en-IN" sz="1100">
                <a:solidFill>
                  <a:srgbClr val="666666"/>
                </a:solidFill>
              </a:rPr>
              <a:t>}</a:t>
            </a:r>
          </a:p>
          <a:p>
            <a:pPr marL="233363"/>
            <a:r>
              <a:rPr lang="en-IN" sz="1100">
                <a:solidFill>
                  <a:srgbClr val="666666"/>
                </a:solidFill>
              </a:rPr>
              <a:t>}</a:t>
            </a:r>
          </a:p>
          <a:p>
            <a:pPr marL="233363"/>
            <a:r>
              <a:rPr lang="en-IN" sz="1100">
                <a:solidFill>
                  <a:srgbClr val="666666"/>
                </a:solidFill>
              </a:rPr>
              <a:t>}</a:t>
            </a:r>
          </a:p>
        </p:txBody>
      </p:sp>
    </p:spTree>
    <p:extLst>
      <p:ext uri="{BB962C8B-B14F-4D97-AF65-F5344CB8AC3E}">
        <p14:creationId xmlns:p14="http://schemas.microsoft.com/office/powerpoint/2010/main" val="2807396464"/>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Mapper: import Statements</a:t>
            </a:r>
            <a:endParaRPr lang="en-IN"/>
          </a:p>
        </p:txBody>
      </p:sp>
      <p:sp>
        <p:nvSpPr>
          <p:cNvPr id="3" name="Rounded Rectangle 2"/>
          <p:cNvSpPr/>
          <p:nvPr/>
        </p:nvSpPr>
        <p:spPr bwMode="gray">
          <a:xfrm>
            <a:off x="554038" y="1648045"/>
            <a:ext cx="8154027" cy="4221128"/>
          </a:xfrm>
          <a:prstGeom prst="roundRect">
            <a:avLst>
              <a:gd name="adj" fmla="val 5080"/>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srgbClr val="666666"/>
                </a:solidFill>
              </a:rPr>
              <a:t>import java.io.IOException;</a:t>
            </a:r>
          </a:p>
          <a:p>
            <a:pPr marL="233363"/>
            <a:r>
              <a:rPr lang="en-IN" sz="1100">
                <a:solidFill>
                  <a:srgbClr val="666666"/>
                </a:solidFill>
              </a:rPr>
              <a:t>import org.apache.hadoop.io.IntWritable;</a:t>
            </a:r>
          </a:p>
          <a:p>
            <a:pPr marL="233363"/>
            <a:r>
              <a:rPr lang="en-IN" sz="1100">
                <a:solidFill>
                  <a:srgbClr val="666666"/>
                </a:solidFill>
              </a:rPr>
              <a:t>import org.apache.hadoop.io.LongWritable;</a:t>
            </a:r>
          </a:p>
          <a:p>
            <a:pPr marL="233363"/>
            <a:r>
              <a:rPr lang="en-IN" sz="1100">
                <a:solidFill>
                  <a:srgbClr val="666666"/>
                </a:solidFill>
              </a:rPr>
              <a:t>import org.apache.hadoop.io.Text;</a:t>
            </a:r>
          </a:p>
          <a:p>
            <a:pPr marL="233363"/>
            <a:r>
              <a:rPr lang="en-IN" sz="1100">
                <a:solidFill>
                  <a:srgbClr val="666666"/>
                </a:solidFill>
              </a:rPr>
              <a:t>import org.apache.hadoop.mapred.MapReduceBase;</a:t>
            </a:r>
          </a:p>
          <a:p>
            <a:pPr marL="233363"/>
            <a:r>
              <a:rPr lang="en-IN" sz="1100">
                <a:solidFill>
                  <a:srgbClr val="666666"/>
                </a:solidFill>
              </a:rPr>
              <a:t>import org.apache.hadoop.mapred.Mapper;</a:t>
            </a:r>
          </a:p>
          <a:p>
            <a:pPr marL="233363"/>
            <a:r>
              <a:rPr lang="en-IN" sz="1100">
                <a:solidFill>
                  <a:srgbClr val="666666"/>
                </a:solidFill>
              </a:rPr>
              <a:t>import org.apache.hadoop.mapred.OutputCollector;</a:t>
            </a:r>
          </a:p>
          <a:p>
            <a:pPr marL="233363"/>
            <a:r>
              <a:rPr lang="en-IN" sz="1100">
                <a:solidFill>
                  <a:srgbClr val="666666"/>
                </a:solidFill>
              </a:rPr>
              <a:t>import org.apache.hadoop.mapred.Reporter;</a:t>
            </a:r>
          </a:p>
          <a:p>
            <a:pPr marL="233363"/>
            <a:r>
              <a:rPr lang="en-IN" sz="1100">
                <a:solidFill>
                  <a:prstClr val="white">
                    <a:lumMod val="75000"/>
                  </a:prstClr>
                </a:solidFill>
              </a:rPr>
              <a:t>public class WordMapper extends MapReduceBase implements</a:t>
            </a:r>
          </a:p>
          <a:p>
            <a:pPr marL="233363"/>
            <a:r>
              <a:rPr lang="en-IN" sz="1100">
                <a:solidFill>
                  <a:prstClr val="white">
                    <a:lumMod val="75000"/>
                  </a:prstClr>
                </a:solidFill>
              </a:rPr>
              <a:t>Mapper&lt;LongWritable, Text, Text, IntWritable&gt; {</a:t>
            </a:r>
          </a:p>
          <a:p>
            <a:pPr marL="233363"/>
            <a:r>
              <a:rPr lang="en-IN" sz="1100">
                <a:solidFill>
                  <a:prstClr val="white">
                    <a:lumMod val="75000"/>
                  </a:prstClr>
                </a:solidFill>
              </a:rPr>
              <a:t>public void map(LongWritable key, Text value,</a:t>
            </a:r>
          </a:p>
          <a:p>
            <a:pPr marL="233363"/>
            <a:r>
              <a:rPr lang="en-IN" sz="1100">
                <a:solidFill>
                  <a:prstClr val="white">
                    <a:lumMod val="75000"/>
                  </a:prstClr>
                </a:solidFill>
              </a:rPr>
              <a:t>OutputCollector&lt;Text, IntWritable&gt; output, Reporter reporter)</a:t>
            </a:r>
          </a:p>
          <a:p>
            <a:pPr marL="233363"/>
            <a:r>
              <a:rPr lang="en-IN" sz="1100">
                <a:solidFill>
                  <a:prstClr val="white">
                    <a:lumMod val="75000"/>
                  </a:prstClr>
                </a:solidFill>
              </a:rPr>
              <a:t>throws IOException {</a:t>
            </a:r>
          </a:p>
          <a:p>
            <a:pPr marL="233363"/>
            <a:r>
              <a:rPr lang="en-IN" sz="1100">
                <a:solidFill>
                  <a:prstClr val="white">
                    <a:lumMod val="75000"/>
                  </a:prstClr>
                </a:solidFill>
              </a:rPr>
              <a:t>String s = value.toString();</a:t>
            </a:r>
          </a:p>
          <a:p>
            <a:pPr marL="233363"/>
            <a:r>
              <a:rPr lang="en-IN" sz="1100">
                <a:solidFill>
                  <a:prstClr val="white">
                    <a:lumMod val="75000"/>
                  </a:prstClr>
                </a:solidFill>
              </a:rPr>
              <a:t>for (String word : s.split("\\W+")) {</a:t>
            </a:r>
          </a:p>
          <a:p>
            <a:pPr marL="233363"/>
            <a:r>
              <a:rPr lang="en-IN" sz="1100">
                <a:solidFill>
                  <a:prstClr val="white">
                    <a:lumMod val="75000"/>
                  </a:prstClr>
                </a:solidFill>
              </a:rPr>
              <a:t>if (word.length() &gt; 0) {</a:t>
            </a:r>
          </a:p>
          <a:p>
            <a:pPr marL="233363"/>
            <a:r>
              <a:rPr lang="en-IN" sz="1100">
                <a:solidFill>
                  <a:prstClr val="white">
                    <a:lumMod val="75000"/>
                  </a:prstClr>
                </a:solidFill>
              </a:rPr>
              <a:t>output.collect(new Text(word), new IntWritable(1));</a:t>
            </a:r>
          </a:p>
          <a:p>
            <a:pPr marL="233363"/>
            <a:r>
              <a:rPr lang="en-IN" sz="1100">
                <a:solidFill>
                  <a:prstClr val="white">
                    <a:lumMod val="75000"/>
                  </a:prstClr>
                </a:solidFill>
              </a:rPr>
              <a:t>}</a:t>
            </a:r>
          </a:p>
          <a:p>
            <a:pPr marL="233363"/>
            <a:r>
              <a:rPr lang="en-IN" sz="1100">
                <a:solidFill>
                  <a:prstClr val="white">
                    <a:lumMod val="75000"/>
                  </a:prstClr>
                </a:solidFill>
              </a:rPr>
              <a:t>}</a:t>
            </a:r>
          </a:p>
          <a:p>
            <a:pPr marL="233363"/>
            <a:r>
              <a:rPr lang="en-IN" sz="1100">
                <a:solidFill>
                  <a:prstClr val="white">
                    <a:lumMod val="75000"/>
                  </a:prstClr>
                </a:solidFill>
              </a:rPr>
              <a:t>}</a:t>
            </a:r>
          </a:p>
          <a:p>
            <a:pPr marL="233363"/>
            <a:r>
              <a:rPr lang="en-IN" sz="1100">
                <a:solidFill>
                  <a:prstClr val="white">
                    <a:lumMod val="75000"/>
                  </a:prstClr>
                </a:solidFill>
              </a:rPr>
              <a:t>}</a:t>
            </a:r>
          </a:p>
        </p:txBody>
      </p:sp>
      <p:sp>
        <p:nvSpPr>
          <p:cNvPr id="4" name="Rounded Rectangle 3"/>
          <p:cNvSpPr/>
          <p:nvPr/>
        </p:nvSpPr>
        <p:spPr bwMode="gray">
          <a:xfrm>
            <a:off x="1414130" y="3849282"/>
            <a:ext cx="5932968" cy="1055608"/>
          </a:xfrm>
          <a:prstGeom prst="roundRect">
            <a:avLst/>
          </a:prstGeom>
          <a:solidFill>
            <a:schemeClr val="bg1"/>
          </a:solidFill>
          <a:ln>
            <a:solidFill>
              <a:schemeClr val="bg1">
                <a:lumMod val="65000"/>
              </a:schemeClr>
            </a:solidFill>
          </a:ln>
        </p:spPr>
        <p:txBody>
          <a:bodyPr wrap="square" lIns="182880" tIns="91440" rIns="182880" bIns="91440">
            <a:spAutoFit/>
          </a:bodyPr>
          <a:lstStyle/>
          <a:p>
            <a:r>
              <a:rPr lang="en-IN" sz="1600">
                <a:solidFill>
                  <a:srgbClr val="666666"/>
                </a:solidFill>
              </a:rPr>
              <a:t>You will typically import java.io.IOException, and the org.apache.hadoop classes shown, in every Mapper you write. We will omit the import statements in future slides for brevity.</a:t>
            </a:r>
          </a:p>
        </p:txBody>
      </p:sp>
    </p:spTree>
    <p:extLst>
      <p:ext uri="{BB962C8B-B14F-4D97-AF65-F5344CB8AC3E}">
        <p14:creationId xmlns:p14="http://schemas.microsoft.com/office/powerpoint/2010/main" val="2689537178"/>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Mapper: Main Code</a:t>
            </a:r>
            <a:endParaRPr lang="en-IN"/>
          </a:p>
        </p:txBody>
      </p:sp>
      <p:sp>
        <p:nvSpPr>
          <p:cNvPr id="3" name="Rounded Rectangle 2"/>
          <p:cNvSpPr/>
          <p:nvPr/>
        </p:nvSpPr>
        <p:spPr bwMode="gray">
          <a:xfrm>
            <a:off x="554038" y="2349795"/>
            <a:ext cx="8154027" cy="2817628"/>
          </a:xfrm>
          <a:prstGeom prst="roundRect">
            <a:avLst>
              <a:gd name="adj" fmla="val 6478"/>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srgbClr val="666666"/>
                </a:solidFill>
              </a:rPr>
              <a:t>public class WordMapper extends MapReduceBase</a:t>
            </a:r>
          </a:p>
          <a:p>
            <a:pPr marL="233363"/>
            <a:r>
              <a:rPr lang="en-IN" sz="1100">
                <a:solidFill>
                  <a:srgbClr val="666666"/>
                </a:solidFill>
              </a:rPr>
              <a:t>implements Mapper&lt;LongWritable, Text, Text, IntWritable&gt; {</a:t>
            </a:r>
          </a:p>
          <a:p>
            <a:pPr marL="233363"/>
            <a:r>
              <a:rPr lang="en-IN" sz="1100">
                <a:solidFill>
                  <a:srgbClr val="666666"/>
                </a:solidFill>
              </a:rPr>
              <a:t>public void map(LongWritable key, Text value,</a:t>
            </a:r>
          </a:p>
          <a:p>
            <a:pPr marL="233363"/>
            <a:r>
              <a:rPr lang="en-IN" sz="1100">
                <a:solidFill>
                  <a:srgbClr val="666666"/>
                </a:solidFill>
              </a:rPr>
              <a:t>OutputCollector&lt;Text, IntWritable&gt; output, Reporter reporter)</a:t>
            </a:r>
          </a:p>
          <a:p>
            <a:pPr marL="233363"/>
            <a:r>
              <a:rPr lang="en-IN" sz="1100">
                <a:solidFill>
                  <a:srgbClr val="666666"/>
                </a:solidFill>
              </a:rPr>
              <a:t>throws IOException {</a:t>
            </a:r>
          </a:p>
          <a:p>
            <a:pPr marL="233363"/>
            <a:r>
              <a:rPr lang="en-IN" sz="1100">
                <a:solidFill>
                  <a:srgbClr val="666666"/>
                </a:solidFill>
              </a:rPr>
              <a:t>String s = value.toString();</a:t>
            </a:r>
          </a:p>
          <a:p>
            <a:pPr marL="233363"/>
            <a:r>
              <a:rPr lang="en-IN" sz="1100">
                <a:solidFill>
                  <a:srgbClr val="666666"/>
                </a:solidFill>
              </a:rPr>
              <a:t>for (String word : s.split("\\W+")) {</a:t>
            </a:r>
          </a:p>
          <a:p>
            <a:pPr marL="233363"/>
            <a:r>
              <a:rPr lang="en-IN" sz="1100">
                <a:solidFill>
                  <a:srgbClr val="666666"/>
                </a:solidFill>
              </a:rPr>
              <a:t>if (word.length() &gt; 0) {</a:t>
            </a:r>
          </a:p>
          <a:p>
            <a:pPr marL="233363"/>
            <a:r>
              <a:rPr lang="en-IN" sz="1100">
                <a:solidFill>
                  <a:srgbClr val="666666"/>
                </a:solidFill>
              </a:rPr>
              <a:t>output.collect(new Text(word), new IntWritable(1));</a:t>
            </a:r>
          </a:p>
          <a:p>
            <a:pPr marL="233363"/>
            <a:r>
              <a:rPr lang="en-IN" sz="1100">
                <a:solidFill>
                  <a:srgbClr val="666666"/>
                </a:solidFill>
              </a:rPr>
              <a:t>}</a:t>
            </a:r>
          </a:p>
          <a:p>
            <a:pPr marL="233363"/>
            <a:r>
              <a:rPr lang="en-IN" sz="1100">
                <a:solidFill>
                  <a:srgbClr val="666666"/>
                </a:solidFill>
              </a:rPr>
              <a:t>}</a:t>
            </a:r>
          </a:p>
          <a:p>
            <a:pPr marL="233363"/>
            <a:r>
              <a:rPr lang="en-IN" sz="1100">
                <a:solidFill>
                  <a:srgbClr val="666666"/>
                </a:solidFill>
              </a:rPr>
              <a:t>}</a:t>
            </a:r>
          </a:p>
          <a:p>
            <a:pPr marL="233363"/>
            <a:r>
              <a:rPr lang="en-IN" sz="1100">
                <a:solidFill>
                  <a:srgbClr val="666666"/>
                </a:solidFill>
              </a:rPr>
              <a:t>}</a:t>
            </a:r>
            <a:endParaRPr lang="en-IN" sz="1100">
              <a:solidFill>
                <a:prstClr val="white">
                  <a:lumMod val="75000"/>
                </a:prstClr>
              </a:solidFill>
            </a:endParaRPr>
          </a:p>
        </p:txBody>
      </p:sp>
    </p:spTree>
    <p:extLst>
      <p:ext uri="{BB962C8B-B14F-4D97-AF65-F5344CB8AC3E}">
        <p14:creationId xmlns:p14="http://schemas.microsoft.com/office/powerpoint/2010/main" val="367197516"/>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Mapper: Main Code (cont’d)</a:t>
            </a:r>
            <a:endParaRPr lang="en-IN"/>
          </a:p>
        </p:txBody>
      </p:sp>
      <p:sp>
        <p:nvSpPr>
          <p:cNvPr id="3" name="Rounded Rectangle 2"/>
          <p:cNvSpPr/>
          <p:nvPr/>
        </p:nvSpPr>
        <p:spPr bwMode="gray">
          <a:xfrm>
            <a:off x="554038" y="2349795"/>
            <a:ext cx="8154027" cy="2817628"/>
          </a:xfrm>
          <a:prstGeom prst="roundRect">
            <a:avLst>
              <a:gd name="adj" fmla="val 5346"/>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srgbClr val="666666"/>
                </a:solidFill>
              </a:rPr>
              <a:t>public class WordMapper extends MapReduceBase</a:t>
            </a:r>
          </a:p>
          <a:p>
            <a:pPr marL="233363"/>
            <a:r>
              <a:rPr lang="en-IN" sz="1100">
                <a:solidFill>
                  <a:srgbClr val="666666"/>
                </a:solidFill>
              </a:rPr>
              <a:t>implements Mapper&lt;LongWritable, Text, Text, IntWritable&gt; {</a:t>
            </a:r>
          </a:p>
          <a:p>
            <a:pPr marL="233363"/>
            <a:r>
              <a:rPr lang="en-IN" sz="1100">
                <a:solidFill>
                  <a:prstClr val="white">
                    <a:lumMod val="75000"/>
                  </a:prstClr>
                </a:solidFill>
              </a:rPr>
              <a:t>public void map(LongWritable key, Text value,</a:t>
            </a:r>
          </a:p>
          <a:p>
            <a:pPr marL="233363"/>
            <a:r>
              <a:rPr lang="en-IN" sz="1100">
                <a:solidFill>
                  <a:prstClr val="white">
                    <a:lumMod val="75000"/>
                  </a:prstClr>
                </a:solidFill>
              </a:rPr>
              <a:t>OutputCollector&lt;Text, IntWritable&gt; output, Reporter reporter)</a:t>
            </a:r>
          </a:p>
          <a:p>
            <a:pPr marL="233363"/>
            <a:r>
              <a:rPr lang="en-IN" sz="1100">
                <a:solidFill>
                  <a:prstClr val="white">
                    <a:lumMod val="75000"/>
                  </a:prstClr>
                </a:solidFill>
              </a:rPr>
              <a:t>throws IOException {</a:t>
            </a:r>
          </a:p>
          <a:p>
            <a:pPr marL="233363"/>
            <a:r>
              <a:rPr lang="en-IN" sz="1100">
                <a:solidFill>
                  <a:prstClr val="white">
                    <a:lumMod val="75000"/>
                  </a:prstClr>
                </a:solidFill>
              </a:rPr>
              <a:t>String s = value.toString();</a:t>
            </a:r>
          </a:p>
          <a:p>
            <a:pPr marL="233363"/>
            <a:r>
              <a:rPr lang="en-IN" sz="1100">
                <a:solidFill>
                  <a:prstClr val="white">
                    <a:lumMod val="75000"/>
                  </a:prstClr>
                </a:solidFill>
              </a:rPr>
              <a:t>for (String word : s.split("\\W+")) {</a:t>
            </a:r>
          </a:p>
          <a:p>
            <a:pPr marL="233363"/>
            <a:r>
              <a:rPr lang="en-IN" sz="1100">
                <a:solidFill>
                  <a:prstClr val="white">
                    <a:lumMod val="75000"/>
                  </a:prstClr>
                </a:solidFill>
              </a:rPr>
              <a:t>if (word.length() &gt; 0) {</a:t>
            </a:r>
          </a:p>
          <a:p>
            <a:pPr marL="233363"/>
            <a:r>
              <a:rPr lang="en-IN" sz="1100">
                <a:solidFill>
                  <a:prstClr val="white">
                    <a:lumMod val="75000"/>
                  </a:prstClr>
                </a:solidFill>
              </a:rPr>
              <a:t>output.collect(new Text(word), new IntWritable(1));</a:t>
            </a:r>
          </a:p>
          <a:p>
            <a:pPr marL="233363"/>
            <a:r>
              <a:rPr lang="en-IN" sz="1100">
                <a:solidFill>
                  <a:prstClr val="white">
                    <a:lumMod val="75000"/>
                  </a:prstClr>
                </a:solidFill>
              </a:rPr>
              <a:t>}</a:t>
            </a:r>
          </a:p>
          <a:p>
            <a:pPr marL="233363"/>
            <a:r>
              <a:rPr lang="en-IN" sz="1100">
                <a:solidFill>
                  <a:prstClr val="white">
                    <a:lumMod val="75000"/>
                  </a:prstClr>
                </a:solidFill>
              </a:rPr>
              <a:t>}</a:t>
            </a:r>
          </a:p>
          <a:p>
            <a:pPr marL="233363"/>
            <a:r>
              <a:rPr lang="en-IN" sz="1100">
                <a:solidFill>
                  <a:prstClr val="white">
                    <a:lumMod val="75000"/>
                  </a:prstClr>
                </a:solidFill>
              </a:rPr>
              <a:t>}</a:t>
            </a:r>
          </a:p>
          <a:p>
            <a:pPr marL="233363"/>
            <a:r>
              <a:rPr lang="en-IN" sz="1100">
                <a:solidFill>
                  <a:prstClr val="white">
                    <a:lumMod val="75000"/>
                  </a:prstClr>
                </a:solidFill>
              </a:rPr>
              <a:t>}</a:t>
            </a:r>
          </a:p>
        </p:txBody>
      </p:sp>
      <p:sp>
        <p:nvSpPr>
          <p:cNvPr id="4" name="Rounded Rectangle 3"/>
          <p:cNvSpPr/>
          <p:nvPr/>
        </p:nvSpPr>
        <p:spPr bwMode="gray">
          <a:xfrm>
            <a:off x="1414129" y="3317654"/>
            <a:ext cx="6719777" cy="1566386"/>
          </a:xfrm>
          <a:prstGeom prst="roundRect">
            <a:avLst>
              <a:gd name="adj" fmla="val 12594"/>
            </a:avLst>
          </a:prstGeom>
          <a:solidFill>
            <a:schemeClr val="bg1"/>
          </a:solidFill>
          <a:ln>
            <a:solidFill>
              <a:schemeClr val="bg1">
                <a:lumMod val="65000"/>
              </a:schemeClr>
            </a:solidFill>
          </a:ln>
        </p:spPr>
        <p:txBody>
          <a:bodyPr wrap="square" lIns="182880" tIns="91440" rIns="182880" bIns="91440">
            <a:spAutoFit/>
          </a:bodyPr>
          <a:lstStyle/>
          <a:p>
            <a:r>
              <a:rPr lang="en-IN" sz="1600">
                <a:solidFill>
                  <a:srgbClr val="666666"/>
                </a:solidFill>
              </a:rPr>
              <a:t>Your Mapper class should extend MapReduceBase, and implement the Mapper interface. The Mapper interface expects four generics, which define the types of the input and output key/value pairs. The first two parameters define the input key and value types, the second two define the output key and value types.</a:t>
            </a:r>
          </a:p>
        </p:txBody>
      </p:sp>
    </p:spTree>
    <p:extLst>
      <p:ext uri="{BB962C8B-B14F-4D97-AF65-F5344CB8AC3E}">
        <p14:creationId xmlns:p14="http://schemas.microsoft.com/office/powerpoint/2010/main" val="1688473415"/>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map Method</a:t>
            </a:r>
            <a:endParaRPr lang="en-IN"/>
          </a:p>
        </p:txBody>
      </p:sp>
      <p:sp>
        <p:nvSpPr>
          <p:cNvPr id="3" name="Rounded Rectangle 2"/>
          <p:cNvSpPr/>
          <p:nvPr/>
        </p:nvSpPr>
        <p:spPr bwMode="gray">
          <a:xfrm>
            <a:off x="554038" y="2349795"/>
            <a:ext cx="8154027" cy="2817628"/>
          </a:xfrm>
          <a:prstGeom prst="roundRect">
            <a:avLst>
              <a:gd name="adj" fmla="val 5724"/>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prstClr val="white">
                    <a:lumMod val="75000"/>
                  </a:prstClr>
                </a:solidFill>
              </a:rPr>
              <a:t>public class WordMapper extends MapReduceBase</a:t>
            </a:r>
          </a:p>
          <a:p>
            <a:pPr marL="233363"/>
            <a:r>
              <a:rPr lang="en-IN" sz="1100">
                <a:solidFill>
                  <a:prstClr val="white">
                    <a:lumMod val="75000"/>
                  </a:prstClr>
                </a:solidFill>
              </a:rPr>
              <a:t>implements Mapper&lt;LongWritable, Text, Text, IntWritable&gt; {</a:t>
            </a:r>
          </a:p>
          <a:p>
            <a:pPr marL="233363"/>
            <a:r>
              <a:rPr lang="en-IN" sz="1100">
                <a:solidFill>
                  <a:srgbClr val="666666"/>
                </a:solidFill>
              </a:rPr>
              <a:t>public void map(LongWritable key, Text value,</a:t>
            </a:r>
          </a:p>
          <a:p>
            <a:pPr marL="233363"/>
            <a:r>
              <a:rPr lang="en-IN" sz="1100">
                <a:solidFill>
                  <a:srgbClr val="666666"/>
                </a:solidFill>
              </a:rPr>
              <a:t>OutputCollector&lt;Text, IntWritable&gt; output, Reporter reporter)</a:t>
            </a:r>
          </a:p>
          <a:p>
            <a:pPr marL="233363"/>
            <a:r>
              <a:rPr lang="en-IN" sz="1100">
                <a:solidFill>
                  <a:srgbClr val="666666"/>
                </a:solidFill>
              </a:rPr>
              <a:t>throws IOException {</a:t>
            </a:r>
          </a:p>
          <a:p>
            <a:pPr marL="233363"/>
            <a:r>
              <a:rPr lang="en-IN" sz="1100">
                <a:solidFill>
                  <a:prstClr val="white">
                    <a:lumMod val="75000"/>
                  </a:prstClr>
                </a:solidFill>
              </a:rPr>
              <a:t>String s = value.toString();</a:t>
            </a:r>
          </a:p>
          <a:p>
            <a:pPr marL="233363"/>
            <a:r>
              <a:rPr lang="en-IN" sz="1100">
                <a:solidFill>
                  <a:prstClr val="white">
                    <a:lumMod val="75000"/>
                  </a:prstClr>
                </a:solidFill>
              </a:rPr>
              <a:t>for (String word : s.split("\\W+")) {</a:t>
            </a:r>
          </a:p>
          <a:p>
            <a:pPr marL="233363"/>
            <a:r>
              <a:rPr lang="en-IN" sz="1100">
                <a:solidFill>
                  <a:prstClr val="white">
                    <a:lumMod val="75000"/>
                  </a:prstClr>
                </a:solidFill>
              </a:rPr>
              <a:t>if (word.length() &gt; 0) {</a:t>
            </a:r>
          </a:p>
          <a:p>
            <a:pPr marL="233363"/>
            <a:r>
              <a:rPr lang="en-IN" sz="1100">
                <a:solidFill>
                  <a:prstClr val="white">
                    <a:lumMod val="75000"/>
                  </a:prstClr>
                </a:solidFill>
              </a:rPr>
              <a:t>output.collect(new Text(word), new IntWritable(1));</a:t>
            </a:r>
          </a:p>
          <a:p>
            <a:pPr marL="233363"/>
            <a:r>
              <a:rPr lang="en-IN" sz="1100">
                <a:solidFill>
                  <a:prstClr val="white">
                    <a:lumMod val="75000"/>
                  </a:prstClr>
                </a:solidFill>
              </a:rPr>
              <a:t>}</a:t>
            </a:r>
          </a:p>
          <a:p>
            <a:pPr marL="233363"/>
            <a:r>
              <a:rPr lang="en-IN" sz="1100">
                <a:solidFill>
                  <a:prstClr val="white">
                    <a:lumMod val="75000"/>
                  </a:prstClr>
                </a:solidFill>
              </a:rPr>
              <a:t>}</a:t>
            </a:r>
          </a:p>
          <a:p>
            <a:pPr marL="233363"/>
            <a:r>
              <a:rPr lang="en-IN" sz="1100">
                <a:solidFill>
                  <a:prstClr val="white">
                    <a:lumMod val="75000"/>
                  </a:prstClr>
                </a:solidFill>
              </a:rPr>
              <a:t>}</a:t>
            </a:r>
          </a:p>
          <a:p>
            <a:pPr marL="233363"/>
            <a:r>
              <a:rPr lang="en-IN" sz="1100">
                <a:solidFill>
                  <a:prstClr val="white">
                    <a:lumMod val="75000"/>
                  </a:prstClr>
                </a:solidFill>
              </a:rPr>
              <a:t>}</a:t>
            </a:r>
          </a:p>
        </p:txBody>
      </p:sp>
      <p:sp>
        <p:nvSpPr>
          <p:cNvPr id="4" name="Rounded Rectangle 3"/>
          <p:cNvSpPr/>
          <p:nvPr/>
        </p:nvSpPr>
        <p:spPr bwMode="gray">
          <a:xfrm>
            <a:off x="1414129" y="3806752"/>
            <a:ext cx="6719777" cy="1293971"/>
          </a:xfrm>
          <a:prstGeom prst="roundRect">
            <a:avLst>
              <a:gd name="adj" fmla="val 14202"/>
            </a:avLst>
          </a:prstGeom>
          <a:solidFill>
            <a:schemeClr val="bg1"/>
          </a:solidFill>
          <a:ln>
            <a:solidFill>
              <a:schemeClr val="bg1">
                <a:lumMod val="65000"/>
              </a:schemeClr>
            </a:solidFill>
          </a:ln>
        </p:spPr>
        <p:txBody>
          <a:bodyPr wrap="square" lIns="182880" tIns="91440" rIns="182880" bIns="91440">
            <a:spAutoFit/>
          </a:bodyPr>
          <a:lstStyle/>
          <a:p>
            <a:r>
              <a:rPr lang="en-IN" sz="1600">
                <a:solidFill>
                  <a:srgbClr val="666666"/>
                </a:solidFill>
              </a:rPr>
              <a:t>The map method’s signature looks like this. It will be passed a key, a value, an OutputCollector object and a Reporter object. The OutputCollector is used to write the intermediate data; you must specify the data types that it will write.</a:t>
            </a:r>
          </a:p>
        </p:txBody>
      </p:sp>
    </p:spTree>
    <p:extLst>
      <p:ext uri="{BB962C8B-B14F-4D97-AF65-F5344CB8AC3E}">
        <p14:creationId xmlns:p14="http://schemas.microsoft.com/office/powerpoint/2010/main" val="11589264"/>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map Method: Processing The Line</a:t>
            </a:r>
            <a:endParaRPr lang="en-IN"/>
          </a:p>
        </p:txBody>
      </p:sp>
      <p:sp>
        <p:nvSpPr>
          <p:cNvPr id="4" name="Rounded Rectangle 3"/>
          <p:cNvSpPr/>
          <p:nvPr/>
        </p:nvSpPr>
        <p:spPr bwMode="gray">
          <a:xfrm>
            <a:off x="554038" y="2349795"/>
            <a:ext cx="8154027" cy="2817628"/>
          </a:xfrm>
          <a:prstGeom prst="roundRect">
            <a:avLst>
              <a:gd name="adj" fmla="val 7233"/>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prstClr val="white">
                    <a:lumMod val="75000"/>
                  </a:prstClr>
                </a:solidFill>
              </a:rPr>
              <a:t>public class WordMapper extends MapReduceBase</a:t>
            </a:r>
          </a:p>
          <a:p>
            <a:pPr marL="233363"/>
            <a:r>
              <a:rPr lang="en-IN" sz="1100">
                <a:solidFill>
                  <a:prstClr val="white">
                    <a:lumMod val="75000"/>
                  </a:prstClr>
                </a:solidFill>
              </a:rPr>
              <a:t>implements Mapper&lt;LongWritable, Text, Text, IntWritable&gt; {</a:t>
            </a:r>
          </a:p>
          <a:p>
            <a:pPr marL="233363"/>
            <a:r>
              <a:rPr lang="en-IN" sz="1100">
                <a:solidFill>
                  <a:prstClr val="white">
                    <a:lumMod val="75000"/>
                  </a:prstClr>
                </a:solidFill>
              </a:rPr>
              <a:t>public void map(LongWritable key, Text value,</a:t>
            </a:r>
          </a:p>
          <a:p>
            <a:pPr marL="233363"/>
            <a:r>
              <a:rPr lang="en-IN" sz="1100">
                <a:solidFill>
                  <a:prstClr val="white">
                    <a:lumMod val="75000"/>
                  </a:prstClr>
                </a:solidFill>
              </a:rPr>
              <a:t>OutputCollector&lt;Text, IntWritable&gt; output, Reporter reporter)</a:t>
            </a:r>
          </a:p>
          <a:p>
            <a:pPr marL="233363"/>
            <a:r>
              <a:rPr lang="en-IN" sz="1100">
                <a:solidFill>
                  <a:prstClr val="white">
                    <a:lumMod val="75000"/>
                  </a:prstClr>
                </a:solidFill>
              </a:rPr>
              <a:t>throws IOException {</a:t>
            </a:r>
          </a:p>
          <a:p>
            <a:pPr marL="233363"/>
            <a:r>
              <a:rPr lang="en-IN" sz="1100">
                <a:solidFill>
                  <a:srgbClr val="666666"/>
                </a:solidFill>
              </a:rPr>
              <a:t>String s = value.toString();</a:t>
            </a:r>
          </a:p>
          <a:p>
            <a:pPr marL="233363"/>
            <a:r>
              <a:rPr lang="en-IN" sz="1100">
                <a:solidFill>
                  <a:prstClr val="white">
                    <a:lumMod val="75000"/>
                  </a:prstClr>
                </a:solidFill>
              </a:rPr>
              <a:t>for (String word : s.split("\\W+")) {</a:t>
            </a:r>
          </a:p>
          <a:p>
            <a:pPr marL="233363"/>
            <a:r>
              <a:rPr lang="en-IN" sz="1100">
                <a:solidFill>
                  <a:prstClr val="white">
                    <a:lumMod val="75000"/>
                  </a:prstClr>
                </a:solidFill>
              </a:rPr>
              <a:t>if (word.length() &gt; 0) {</a:t>
            </a:r>
          </a:p>
          <a:p>
            <a:pPr marL="233363"/>
            <a:r>
              <a:rPr lang="en-IN" sz="1100">
                <a:solidFill>
                  <a:prstClr val="white">
                    <a:lumMod val="75000"/>
                  </a:prstClr>
                </a:solidFill>
              </a:rPr>
              <a:t>output.collect(new Text(word), new IntWritable(1));</a:t>
            </a:r>
          </a:p>
          <a:p>
            <a:pPr marL="233363"/>
            <a:r>
              <a:rPr lang="en-IN" sz="1100">
                <a:solidFill>
                  <a:prstClr val="white">
                    <a:lumMod val="75000"/>
                  </a:prstClr>
                </a:solidFill>
              </a:rPr>
              <a:t>}</a:t>
            </a:r>
          </a:p>
          <a:p>
            <a:pPr marL="233363"/>
            <a:r>
              <a:rPr lang="en-IN" sz="1100">
                <a:solidFill>
                  <a:prstClr val="white">
                    <a:lumMod val="75000"/>
                  </a:prstClr>
                </a:solidFill>
              </a:rPr>
              <a:t>}</a:t>
            </a:r>
          </a:p>
          <a:p>
            <a:pPr marL="233363"/>
            <a:r>
              <a:rPr lang="en-IN" sz="1100">
                <a:solidFill>
                  <a:prstClr val="white">
                    <a:lumMod val="75000"/>
                  </a:prstClr>
                </a:solidFill>
              </a:rPr>
              <a:t>}</a:t>
            </a:r>
          </a:p>
          <a:p>
            <a:pPr marL="233363"/>
            <a:r>
              <a:rPr lang="en-IN" sz="1100">
                <a:solidFill>
                  <a:prstClr val="white">
                    <a:lumMod val="75000"/>
                  </a:prstClr>
                </a:solidFill>
              </a:rPr>
              <a:t>}</a:t>
            </a:r>
          </a:p>
        </p:txBody>
      </p:sp>
      <p:sp>
        <p:nvSpPr>
          <p:cNvPr id="5" name="Rounded Rectangle 4"/>
          <p:cNvSpPr/>
          <p:nvPr/>
        </p:nvSpPr>
        <p:spPr bwMode="gray">
          <a:xfrm>
            <a:off x="1414129" y="3806752"/>
            <a:ext cx="6719777" cy="476726"/>
          </a:xfrm>
          <a:prstGeom prst="roundRect">
            <a:avLst/>
          </a:prstGeom>
          <a:solidFill>
            <a:schemeClr val="bg1"/>
          </a:solidFill>
          <a:ln>
            <a:solidFill>
              <a:schemeClr val="bg1">
                <a:lumMod val="65000"/>
              </a:schemeClr>
            </a:solidFill>
          </a:ln>
        </p:spPr>
        <p:txBody>
          <a:bodyPr wrap="square" lIns="182880" tIns="91440" rIns="182880" bIns="91440">
            <a:spAutoFit/>
          </a:bodyPr>
          <a:lstStyle/>
          <a:p>
            <a:r>
              <a:rPr lang="en-IN" sz="1600">
                <a:solidFill>
                  <a:srgbClr val="666666"/>
                </a:solidFill>
              </a:rPr>
              <a:t>value is a Text object, so we retrieve the string it contains.</a:t>
            </a:r>
          </a:p>
        </p:txBody>
      </p:sp>
    </p:spTree>
    <p:extLst>
      <p:ext uri="{BB962C8B-B14F-4D97-AF65-F5344CB8AC3E}">
        <p14:creationId xmlns:p14="http://schemas.microsoft.com/office/powerpoint/2010/main" val="406857641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WHY ALL THIS </a:t>
            </a:r>
            <a:r>
              <a:rPr lang="en-US" smtClean="0"/>
              <a:t>?</a:t>
            </a:r>
            <a:endParaRPr lang="en-IN"/>
          </a:p>
        </p:txBody>
      </p:sp>
      <p:sp>
        <p:nvSpPr>
          <p:cNvPr id="3" name="Right Arrow 2"/>
          <p:cNvSpPr/>
          <p:nvPr>
            <p:custDataLst>
              <p:tags r:id="rId1"/>
            </p:custDataLst>
          </p:nvPr>
        </p:nvSpPr>
        <p:spPr bwMode="gray">
          <a:xfrm>
            <a:off x="850606" y="1637416"/>
            <a:ext cx="7506586" cy="3157870"/>
          </a:xfrm>
          <a:prstGeom prst="rightArrow">
            <a:avLst>
              <a:gd name="adj1" fmla="val 61261"/>
              <a:gd name="adj2"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Freeform 2"/>
          <p:cNvSpPr>
            <a:spLocks/>
          </p:cNvSpPr>
          <p:nvPr>
            <p:custDataLst>
              <p:tags r:id="rId2"/>
            </p:custDataLst>
          </p:nvPr>
        </p:nvSpPr>
        <p:spPr bwMode="gray">
          <a:xfrm>
            <a:off x="584200" y="2420569"/>
            <a:ext cx="866332" cy="1577273"/>
          </a:xfrm>
          <a:prstGeom prst="roundRect">
            <a:avLst/>
          </a:prstGeom>
          <a:solidFill>
            <a:schemeClr val="bg1">
              <a:lumMod val="95000"/>
            </a:schemeClr>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vert="horz" wrap="square" lIns="0" tIns="0" rIns="0" bIns="0" numCol="1" anchor="ctr" anchorCtr="0" compatLnSpc="1">
            <a:prstTxWarp prst="textNoShape">
              <a:avLst/>
            </a:prstTxWarp>
          </a:bodyPr>
          <a:lstStyle/>
          <a:p>
            <a:pPr algn="ctr"/>
            <a:r>
              <a:rPr lang="en-IN" sz="1100"/>
              <a:t>Limitation of existing IT infrastructure and resources</a:t>
            </a:r>
          </a:p>
        </p:txBody>
      </p:sp>
      <p:sp>
        <p:nvSpPr>
          <p:cNvPr id="5" name="Freeform 2"/>
          <p:cNvSpPr>
            <a:spLocks/>
          </p:cNvSpPr>
          <p:nvPr>
            <p:custDataLst>
              <p:tags r:id="rId3"/>
            </p:custDataLst>
          </p:nvPr>
        </p:nvSpPr>
        <p:spPr bwMode="gray">
          <a:xfrm>
            <a:off x="1555904" y="2420569"/>
            <a:ext cx="866332" cy="1577273"/>
          </a:xfrm>
          <a:prstGeom prst="roundRect">
            <a:avLst/>
          </a:prstGeom>
          <a:solidFill>
            <a:schemeClr val="bg1">
              <a:lumMod val="95000"/>
            </a:schemeClr>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vert="horz" wrap="square" lIns="0" tIns="0" rIns="0" bIns="0" numCol="1" anchor="ctr" anchorCtr="0" compatLnSpc="1">
            <a:prstTxWarp prst="textNoShape">
              <a:avLst/>
            </a:prstTxWarp>
          </a:bodyPr>
          <a:lstStyle/>
          <a:p>
            <a:pPr algn="ctr"/>
            <a:r>
              <a:rPr lang="en-IN" sz="1100" dirty="0"/>
              <a:t>Vertical scalability is not always the solution: upgrading server and storage</a:t>
            </a:r>
          </a:p>
        </p:txBody>
      </p:sp>
      <p:sp>
        <p:nvSpPr>
          <p:cNvPr id="6" name="Freeform 2"/>
          <p:cNvSpPr>
            <a:spLocks/>
          </p:cNvSpPr>
          <p:nvPr>
            <p:custDataLst>
              <p:tags r:id="rId4"/>
            </p:custDataLst>
          </p:nvPr>
        </p:nvSpPr>
        <p:spPr bwMode="gray">
          <a:xfrm>
            <a:off x="2527608" y="2420569"/>
            <a:ext cx="866332" cy="1577273"/>
          </a:xfrm>
          <a:prstGeom prst="roundRect">
            <a:avLst/>
          </a:prstGeom>
          <a:solidFill>
            <a:schemeClr val="bg1">
              <a:lumMod val="95000"/>
            </a:schemeClr>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vert="horz" wrap="square" lIns="0" tIns="0" rIns="0" bIns="0" numCol="1" anchor="ctr" anchorCtr="0" compatLnSpc="1">
            <a:prstTxWarp prst="textNoShape">
              <a:avLst/>
            </a:prstTxWarp>
          </a:bodyPr>
          <a:lstStyle/>
          <a:p>
            <a:pPr algn="ctr"/>
            <a:r>
              <a:rPr lang="en-IN" sz="1100"/>
              <a:t>RDBMS is not designed to scale out</a:t>
            </a:r>
          </a:p>
        </p:txBody>
      </p:sp>
      <p:sp>
        <p:nvSpPr>
          <p:cNvPr id="7" name="Freeform 2"/>
          <p:cNvSpPr>
            <a:spLocks/>
          </p:cNvSpPr>
          <p:nvPr>
            <p:custDataLst>
              <p:tags r:id="rId5"/>
            </p:custDataLst>
          </p:nvPr>
        </p:nvSpPr>
        <p:spPr bwMode="gray">
          <a:xfrm>
            <a:off x="4471016" y="2420569"/>
            <a:ext cx="866332" cy="1577273"/>
          </a:xfrm>
          <a:prstGeom prst="roundRect">
            <a:avLst/>
          </a:prstGeom>
          <a:solidFill>
            <a:schemeClr val="bg1">
              <a:lumMod val="95000"/>
            </a:schemeClr>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vert="horz" wrap="square" lIns="0" tIns="0" rIns="0" bIns="0" numCol="1" anchor="ctr" anchorCtr="0" compatLnSpc="1">
            <a:prstTxWarp prst="textNoShape">
              <a:avLst/>
            </a:prstTxWarp>
          </a:bodyPr>
          <a:lstStyle/>
          <a:p>
            <a:pPr algn="ctr"/>
            <a:r>
              <a:rPr lang="en-IN" sz="1100"/>
              <a:t>A new approach to the problem is required</a:t>
            </a:r>
          </a:p>
        </p:txBody>
      </p:sp>
      <p:sp>
        <p:nvSpPr>
          <p:cNvPr id="8" name="Freeform 2"/>
          <p:cNvSpPr>
            <a:spLocks/>
          </p:cNvSpPr>
          <p:nvPr>
            <p:custDataLst>
              <p:tags r:id="rId6"/>
            </p:custDataLst>
          </p:nvPr>
        </p:nvSpPr>
        <p:spPr bwMode="gray">
          <a:xfrm>
            <a:off x="6414424" y="2420569"/>
            <a:ext cx="866332" cy="1577273"/>
          </a:xfrm>
          <a:prstGeom prst="roundRect">
            <a:avLst/>
          </a:prstGeom>
          <a:solidFill>
            <a:schemeClr val="bg1">
              <a:lumMod val="95000"/>
            </a:schemeClr>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vert="horz" wrap="square" lIns="0" tIns="0" rIns="0" bIns="0" numCol="1" anchor="ctr" anchorCtr="0" compatLnSpc="1">
            <a:prstTxWarp prst="textNoShape">
              <a:avLst/>
            </a:prstTxWarp>
          </a:bodyPr>
          <a:lstStyle/>
          <a:p>
            <a:pPr algn="ctr"/>
            <a:r>
              <a:rPr lang="en-IN" sz="1100"/>
              <a:t>Analyze huge data sets running into several tera bytes or peta bytes</a:t>
            </a:r>
          </a:p>
        </p:txBody>
      </p:sp>
      <p:sp>
        <p:nvSpPr>
          <p:cNvPr id="9" name="Freeform 2"/>
          <p:cNvSpPr>
            <a:spLocks/>
          </p:cNvSpPr>
          <p:nvPr>
            <p:custDataLst>
              <p:tags r:id="rId7"/>
            </p:custDataLst>
          </p:nvPr>
        </p:nvSpPr>
        <p:spPr bwMode="gray">
          <a:xfrm>
            <a:off x="3499312" y="2420569"/>
            <a:ext cx="866332" cy="1577273"/>
          </a:xfrm>
          <a:prstGeom prst="roundRect">
            <a:avLst/>
          </a:prstGeom>
          <a:solidFill>
            <a:schemeClr val="bg1">
              <a:lumMod val="95000"/>
            </a:schemeClr>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vert="horz" wrap="square" lIns="0" tIns="0" rIns="0" bIns="0" numCol="1" anchor="ctr" anchorCtr="0" compatLnSpc="1">
            <a:prstTxWarp prst="textNoShape">
              <a:avLst/>
            </a:prstTxWarp>
          </a:bodyPr>
          <a:lstStyle/>
          <a:p>
            <a:pPr algn="ctr"/>
            <a:r>
              <a:rPr lang="en-IN" sz="1100"/>
              <a:t>Can not handle unstructured data</a:t>
            </a:r>
          </a:p>
        </p:txBody>
      </p:sp>
      <p:sp>
        <p:nvSpPr>
          <p:cNvPr id="10" name="Freeform 2"/>
          <p:cNvSpPr>
            <a:spLocks/>
          </p:cNvSpPr>
          <p:nvPr>
            <p:custDataLst>
              <p:tags r:id="rId8"/>
            </p:custDataLst>
          </p:nvPr>
        </p:nvSpPr>
        <p:spPr bwMode="gray">
          <a:xfrm>
            <a:off x="5442720" y="2420569"/>
            <a:ext cx="866332" cy="1577273"/>
          </a:xfrm>
          <a:prstGeom prst="roundRect">
            <a:avLst/>
          </a:prstGeom>
          <a:solidFill>
            <a:schemeClr val="bg1">
              <a:lumMod val="95000"/>
            </a:schemeClr>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vert="horz" wrap="square" lIns="0" tIns="0" rIns="0" bIns="0" numCol="1" anchor="ctr" anchorCtr="0" compatLnSpc="1">
            <a:prstTxWarp prst="textNoShape">
              <a:avLst/>
            </a:prstTxWarp>
          </a:bodyPr>
          <a:lstStyle/>
          <a:p>
            <a:pPr algn="ctr"/>
            <a:r>
              <a:rPr lang="en-IN" sz="1100"/>
              <a:t>Process structured and unstructured data</a:t>
            </a:r>
          </a:p>
        </p:txBody>
      </p:sp>
      <p:sp>
        <p:nvSpPr>
          <p:cNvPr id="11" name="Freeform 2"/>
          <p:cNvSpPr>
            <a:spLocks/>
          </p:cNvSpPr>
          <p:nvPr>
            <p:custDataLst>
              <p:tags r:id="rId9"/>
            </p:custDataLst>
          </p:nvPr>
        </p:nvSpPr>
        <p:spPr bwMode="gray">
          <a:xfrm>
            <a:off x="7386128" y="2420569"/>
            <a:ext cx="866332" cy="1577273"/>
          </a:xfrm>
          <a:prstGeom prst="roundRect">
            <a:avLst/>
          </a:prstGeom>
          <a:solidFill>
            <a:schemeClr val="bg1">
              <a:lumMod val="95000"/>
            </a:schemeClr>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vert="horz" wrap="square" lIns="0" tIns="0" rIns="0" bIns="0" numCol="1" anchor="ctr" anchorCtr="0" compatLnSpc="1">
            <a:prstTxWarp prst="textNoShape">
              <a:avLst/>
            </a:prstTxWarp>
          </a:bodyPr>
          <a:lstStyle/>
          <a:p>
            <a:pPr algn="ctr"/>
            <a:r>
              <a:rPr lang="en-IN" sz="1100"/>
              <a:t>Process and manage data economically</a:t>
            </a:r>
          </a:p>
        </p:txBody>
      </p:sp>
    </p:spTree>
    <p:extLst>
      <p:ext uri="{BB962C8B-B14F-4D97-AF65-F5344CB8AC3E}">
        <p14:creationId xmlns:p14="http://schemas.microsoft.com/office/powerpoint/2010/main" val="4189755255"/>
      </p:ext>
    </p:extLst>
  </p:cSld>
  <p:clrMapOvr>
    <a:masterClrMapping/>
  </p:clrMapOvr>
  <p:transition>
    <p:fade/>
  </p:transition>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map Method: Processing The Line (cont’d)</a:t>
            </a:r>
            <a:endParaRPr lang="en-IN"/>
          </a:p>
        </p:txBody>
      </p:sp>
      <p:sp>
        <p:nvSpPr>
          <p:cNvPr id="3" name="Rounded Rectangle 2"/>
          <p:cNvSpPr/>
          <p:nvPr/>
        </p:nvSpPr>
        <p:spPr bwMode="gray">
          <a:xfrm>
            <a:off x="554038" y="2349795"/>
            <a:ext cx="8154027" cy="2817628"/>
          </a:xfrm>
          <a:prstGeom prst="roundRect">
            <a:avLst>
              <a:gd name="adj" fmla="val 7610"/>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prstClr val="white">
                    <a:lumMod val="75000"/>
                  </a:prstClr>
                </a:solidFill>
              </a:rPr>
              <a:t>public class WordMapper extends MapReduceBase</a:t>
            </a:r>
          </a:p>
          <a:p>
            <a:pPr marL="233363"/>
            <a:r>
              <a:rPr lang="en-IN" sz="1100">
                <a:solidFill>
                  <a:prstClr val="white">
                    <a:lumMod val="75000"/>
                  </a:prstClr>
                </a:solidFill>
              </a:rPr>
              <a:t>implements Mapper&lt;LongWritable, Text, Text, IntWritable&gt; {</a:t>
            </a:r>
          </a:p>
          <a:p>
            <a:pPr marL="233363"/>
            <a:r>
              <a:rPr lang="en-IN" sz="1100">
                <a:solidFill>
                  <a:prstClr val="white">
                    <a:lumMod val="75000"/>
                  </a:prstClr>
                </a:solidFill>
              </a:rPr>
              <a:t>public void map(LongWritable key, Text value,</a:t>
            </a:r>
          </a:p>
          <a:p>
            <a:pPr marL="233363"/>
            <a:r>
              <a:rPr lang="en-IN" sz="1100">
                <a:solidFill>
                  <a:prstClr val="white">
                    <a:lumMod val="75000"/>
                  </a:prstClr>
                </a:solidFill>
              </a:rPr>
              <a:t>OutputCollector&lt;Text, IntWritable&gt; output, Reporter reporter)</a:t>
            </a:r>
          </a:p>
          <a:p>
            <a:pPr marL="233363"/>
            <a:r>
              <a:rPr lang="en-IN" sz="1100">
                <a:solidFill>
                  <a:prstClr val="white">
                    <a:lumMod val="75000"/>
                  </a:prstClr>
                </a:solidFill>
              </a:rPr>
              <a:t>throws IOException {</a:t>
            </a:r>
          </a:p>
          <a:p>
            <a:pPr marL="233363"/>
            <a:r>
              <a:rPr lang="en-IN" sz="1100">
                <a:solidFill>
                  <a:prstClr val="white">
                    <a:lumMod val="75000"/>
                  </a:prstClr>
                </a:solidFill>
              </a:rPr>
              <a:t>String s = value.toString();</a:t>
            </a:r>
          </a:p>
          <a:p>
            <a:pPr marL="233363"/>
            <a:r>
              <a:rPr lang="en-IN" sz="1100">
                <a:solidFill>
                  <a:srgbClr val="666666"/>
                </a:solidFill>
              </a:rPr>
              <a:t>for (String word : s.split("\\W+")) {</a:t>
            </a:r>
          </a:p>
          <a:p>
            <a:pPr marL="233363"/>
            <a:r>
              <a:rPr lang="en-IN" sz="1100">
                <a:solidFill>
                  <a:srgbClr val="666666"/>
                </a:solidFill>
              </a:rPr>
              <a:t>if (word.length() &gt; 0) {</a:t>
            </a:r>
          </a:p>
          <a:p>
            <a:pPr marL="233363"/>
            <a:r>
              <a:rPr lang="en-IN" sz="1100">
                <a:solidFill>
                  <a:prstClr val="white">
                    <a:lumMod val="75000"/>
                  </a:prstClr>
                </a:solidFill>
              </a:rPr>
              <a:t>output.collect(new Text(word), new IntWritable(1));</a:t>
            </a:r>
          </a:p>
          <a:p>
            <a:pPr marL="233363"/>
            <a:r>
              <a:rPr lang="en-IN" sz="1100">
                <a:solidFill>
                  <a:prstClr val="white">
                    <a:lumMod val="75000"/>
                  </a:prstClr>
                </a:solidFill>
              </a:rPr>
              <a:t>}</a:t>
            </a:r>
          </a:p>
          <a:p>
            <a:pPr marL="233363"/>
            <a:r>
              <a:rPr lang="en-IN" sz="1100">
                <a:solidFill>
                  <a:prstClr val="white">
                    <a:lumMod val="75000"/>
                  </a:prstClr>
                </a:solidFill>
              </a:rPr>
              <a:t>}</a:t>
            </a:r>
          </a:p>
          <a:p>
            <a:pPr marL="233363"/>
            <a:r>
              <a:rPr lang="en-IN" sz="1100">
                <a:solidFill>
                  <a:prstClr val="white">
                    <a:lumMod val="75000"/>
                  </a:prstClr>
                </a:solidFill>
              </a:rPr>
              <a:t>}</a:t>
            </a:r>
          </a:p>
          <a:p>
            <a:pPr marL="233363"/>
            <a:r>
              <a:rPr lang="en-IN" sz="1100">
                <a:solidFill>
                  <a:prstClr val="white">
                    <a:lumMod val="75000"/>
                  </a:prstClr>
                </a:solidFill>
              </a:rPr>
              <a:t>}</a:t>
            </a:r>
          </a:p>
        </p:txBody>
      </p:sp>
      <p:sp>
        <p:nvSpPr>
          <p:cNvPr id="4" name="Rounded Rectangle 3"/>
          <p:cNvSpPr/>
          <p:nvPr/>
        </p:nvSpPr>
        <p:spPr bwMode="gray">
          <a:xfrm>
            <a:off x="1414129" y="4104476"/>
            <a:ext cx="6719777" cy="749141"/>
          </a:xfrm>
          <a:prstGeom prst="roundRect">
            <a:avLst/>
          </a:prstGeom>
          <a:solidFill>
            <a:schemeClr val="bg1"/>
          </a:solidFill>
          <a:ln>
            <a:solidFill>
              <a:schemeClr val="bg1">
                <a:lumMod val="65000"/>
              </a:schemeClr>
            </a:solidFill>
          </a:ln>
        </p:spPr>
        <p:txBody>
          <a:bodyPr wrap="square" lIns="182880" tIns="91440" rIns="182880" bIns="91440">
            <a:spAutoFit/>
          </a:bodyPr>
          <a:lstStyle/>
          <a:p>
            <a:r>
              <a:rPr lang="en-IN" sz="1600">
                <a:solidFill>
                  <a:srgbClr val="666666"/>
                </a:solidFill>
              </a:rPr>
              <a:t>We then split the string up into words using any nonalphanumeric characters as the word delimiter, and loop through those words.</a:t>
            </a:r>
          </a:p>
        </p:txBody>
      </p:sp>
    </p:spTree>
    <p:extLst>
      <p:ext uri="{BB962C8B-B14F-4D97-AF65-F5344CB8AC3E}">
        <p14:creationId xmlns:p14="http://schemas.microsoft.com/office/powerpoint/2010/main" val="1113287590"/>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Outputting Intermediate Data</a:t>
            </a:r>
            <a:endParaRPr lang="en-IN"/>
          </a:p>
        </p:txBody>
      </p:sp>
      <p:sp>
        <p:nvSpPr>
          <p:cNvPr id="3" name="Rounded Rectangle 2"/>
          <p:cNvSpPr/>
          <p:nvPr/>
        </p:nvSpPr>
        <p:spPr bwMode="gray">
          <a:xfrm>
            <a:off x="554038" y="2349795"/>
            <a:ext cx="8154027" cy="2817628"/>
          </a:xfrm>
          <a:prstGeom prst="roundRect">
            <a:avLst>
              <a:gd name="adj" fmla="val 8365"/>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prstClr val="white">
                    <a:lumMod val="75000"/>
                  </a:prstClr>
                </a:solidFill>
              </a:rPr>
              <a:t>public class WordMapper extends MapReduceBase</a:t>
            </a:r>
          </a:p>
          <a:p>
            <a:pPr marL="233363"/>
            <a:r>
              <a:rPr lang="en-IN" sz="1100">
                <a:solidFill>
                  <a:prstClr val="white">
                    <a:lumMod val="75000"/>
                  </a:prstClr>
                </a:solidFill>
              </a:rPr>
              <a:t>implements Mapper&lt;LongWritable, Text, Text, IntWritable&gt; {</a:t>
            </a:r>
          </a:p>
          <a:p>
            <a:pPr marL="233363"/>
            <a:r>
              <a:rPr lang="en-IN" sz="1100">
                <a:solidFill>
                  <a:prstClr val="white">
                    <a:lumMod val="75000"/>
                  </a:prstClr>
                </a:solidFill>
              </a:rPr>
              <a:t>public void map(LongWritable key, Text value,</a:t>
            </a:r>
          </a:p>
          <a:p>
            <a:pPr marL="233363"/>
            <a:r>
              <a:rPr lang="en-IN" sz="1100">
                <a:solidFill>
                  <a:prstClr val="white">
                    <a:lumMod val="75000"/>
                  </a:prstClr>
                </a:solidFill>
              </a:rPr>
              <a:t>OutputCollector&lt;Text, IntWritable&gt; output, Reporter reporter)</a:t>
            </a:r>
          </a:p>
          <a:p>
            <a:pPr marL="233363"/>
            <a:r>
              <a:rPr lang="en-IN" sz="1100">
                <a:solidFill>
                  <a:prstClr val="white">
                    <a:lumMod val="75000"/>
                  </a:prstClr>
                </a:solidFill>
              </a:rPr>
              <a:t>throws IOException {</a:t>
            </a:r>
          </a:p>
          <a:p>
            <a:pPr marL="233363"/>
            <a:r>
              <a:rPr lang="en-IN" sz="1100">
                <a:solidFill>
                  <a:prstClr val="white">
                    <a:lumMod val="75000"/>
                  </a:prstClr>
                </a:solidFill>
              </a:rPr>
              <a:t>String s = value.toString();</a:t>
            </a:r>
          </a:p>
          <a:p>
            <a:pPr marL="233363"/>
            <a:r>
              <a:rPr lang="en-IN" sz="1100">
                <a:solidFill>
                  <a:prstClr val="white">
                    <a:lumMod val="75000"/>
                  </a:prstClr>
                </a:solidFill>
              </a:rPr>
              <a:t>for (String word : s.split("\\W+")) {</a:t>
            </a:r>
          </a:p>
          <a:p>
            <a:pPr marL="233363"/>
            <a:r>
              <a:rPr lang="en-IN" sz="1100">
                <a:solidFill>
                  <a:prstClr val="white">
                    <a:lumMod val="75000"/>
                  </a:prstClr>
                </a:solidFill>
              </a:rPr>
              <a:t>if (word.length() &gt; 0) {</a:t>
            </a:r>
          </a:p>
          <a:p>
            <a:pPr marL="233363"/>
            <a:r>
              <a:rPr lang="en-IN" sz="1100">
                <a:solidFill>
                  <a:srgbClr val="666666"/>
                </a:solidFill>
              </a:rPr>
              <a:t>output.collect(new Text(word), new IntWritable(1));</a:t>
            </a:r>
          </a:p>
          <a:p>
            <a:pPr marL="233363"/>
            <a:r>
              <a:rPr lang="en-IN" sz="1100">
                <a:solidFill>
                  <a:prstClr val="white">
                    <a:lumMod val="75000"/>
                  </a:prstClr>
                </a:solidFill>
              </a:rPr>
              <a:t>}</a:t>
            </a:r>
          </a:p>
          <a:p>
            <a:pPr marL="233363"/>
            <a:r>
              <a:rPr lang="en-IN" sz="1100">
                <a:solidFill>
                  <a:prstClr val="white">
                    <a:lumMod val="75000"/>
                  </a:prstClr>
                </a:solidFill>
              </a:rPr>
              <a:t>}</a:t>
            </a:r>
          </a:p>
          <a:p>
            <a:pPr marL="233363"/>
            <a:r>
              <a:rPr lang="en-IN" sz="1100">
                <a:solidFill>
                  <a:prstClr val="white">
                    <a:lumMod val="75000"/>
                  </a:prstClr>
                </a:solidFill>
              </a:rPr>
              <a:t>}</a:t>
            </a:r>
          </a:p>
          <a:p>
            <a:pPr marL="233363"/>
            <a:r>
              <a:rPr lang="en-IN" sz="1100">
                <a:solidFill>
                  <a:prstClr val="white">
                    <a:lumMod val="75000"/>
                  </a:prstClr>
                </a:solidFill>
              </a:rPr>
              <a:t>}</a:t>
            </a:r>
          </a:p>
        </p:txBody>
      </p:sp>
      <p:sp>
        <p:nvSpPr>
          <p:cNvPr id="4" name="Rounded Rectangle 3"/>
          <p:cNvSpPr/>
          <p:nvPr/>
        </p:nvSpPr>
        <p:spPr bwMode="gray">
          <a:xfrm>
            <a:off x="1414129" y="4359652"/>
            <a:ext cx="6719777" cy="1248728"/>
          </a:xfrm>
          <a:prstGeom prst="roundRect">
            <a:avLst>
              <a:gd name="adj" fmla="val 11463"/>
            </a:avLst>
          </a:prstGeom>
          <a:solidFill>
            <a:schemeClr val="bg1"/>
          </a:solidFill>
          <a:ln>
            <a:solidFill>
              <a:schemeClr val="bg1">
                <a:lumMod val="65000"/>
              </a:schemeClr>
            </a:solidFill>
          </a:ln>
        </p:spPr>
        <p:txBody>
          <a:bodyPr wrap="square" lIns="182880" tIns="91440" rIns="182880" bIns="91440">
            <a:spAutoFit/>
          </a:bodyPr>
          <a:lstStyle/>
          <a:p>
            <a:r>
              <a:rPr lang="en-IN" sz="1600">
                <a:solidFill>
                  <a:srgbClr val="666666"/>
                </a:solidFill>
              </a:rPr>
              <a:t>To emit a (key, value) pair, we call the collect method of </a:t>
            </a:r>
            <a:r>
              <a:rPr lang="en-IN" sz="1600" smtClean="0">
                <a:solidFill>
                  <a:srgbClr val="666666"/>
                </a:solidFill>
              </a:rPr>
              <a:t>our OutputCollector </a:t>
            </a:r>
            <a:r>
              <a:rPr lang="en-IN" sz="1600">
                <a:solidFill>
                  <a:srgbClr val="666666"/>
                </a:solidFill>
              </a:rPr>
              <a:t>object. The key will be the word itself, </a:t>
            </a:r>
            <a:r>
              <a:rPr lang="en-IN" sz="1600" smtClean="0">
                <a:solidFill>
                  <a:srgbClr val="666666"/>
                </a:solidFill>
              </a:rPr>
              <a:t>the value </a:t>
            </a:r>
            <a:r>
              <a:rPr lang="en-IN" sz="1600">
                <a:solidFill>
                  <a:srgbClr val="666666"/>
                </a:solidFill>
              </a:rPr>
              <a:t>will be the number 1. Recall that the output key must be </a:t>
            </a:r>
            <a:r>
              <a:rPr lang="en-IN" sz="1600" smtClean="0">
                <a:solidFill>
                  <a:srgbClr val="666666"/>
                </a:solidFill>
              </a:rPr>
              <a:t>of type </a:t>
            </a:r>
            <a:r>
              <a:rPr lang="en-IN" sz="1600">
                <a:solidFill>
                  <a:srgbClr val="666666"/>
                </a:solidFill>
              </a:rPr>
              <a:t>WritableComparable, and the value must be a Writable.</a:t>
            </a:r>
          </a:p>
        </p:txBody>
      </p:sp>
    </p:spTree>
    <p:extLst>
      <p:ext uri="{BB962C8B-B14F-4D97-AF65-F5344CB8AC3E}">
        <p14:creationId xmlns:p14="http://schemas.microsoft.com/office/powerpoint/2010/main" val="3355538622"/>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Reprise: The Map Method</a:t>
            </a:r>
            <a:endParaRPr lang="en-IN"/>
          </a:p>
        </p:txBody>
      </p:sp>
      <p:sp>
        <p:nvSpPr>
          <p:cNvPr id="3" name="Rounded Rectangle 2"/>
          <p:cNvSpPr/>
          <p:nvPr/>
        </p:nvSpPr>
        <p:spPr bwMode="gray">
          <a:xfrm>
            <a:off x="554038" y="2349795"/>
            <a:ext cx="8154027" cy="2817628"/>
          </a:xfrm>
          <a:prstGeom prst="roundRect">
            <a:avLst>
              <a:gd name="adj" fmla="val 7233"/>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srgbClr val="666666"/>
                </a:solidFill>
              </a:rPr>
              <a:t>public class WordMapper extends MapReduceBase</a:t>
            </a:r>
          </a:p>
          <a:p>
            <a:pPr marL="233363"/>
            <a:r>
              <a:rPr lang="en-IN" sz="1100">
                <a:solidFill>
                  <a:srgbClr val="666666"/>
                </a:solidFill>
              </a:rPr>
              <a:t>implements Mapper&lt;LongWritable, Text, Text, IntWritable&gt; {</a:t>
            </a:r>
          </a:p>
          <a:p>
            <a:pPr marL="233363"/>
            <a:r>
              <a:rPr lang="en-IN" sz="1100">
                <a:solidFill>
                  <a:srgbClr val="666666"/>
                </a:solidFill>
              </a:rPr>
              <a:t>public void map(LongWritable key, Text value,</a:t>
            </a:r>
          </a:p>
          <a:p>
            <a:pPr marL="233363"/>
            <a:r>
              <a:rPr lang="en-IN" sz="1100">
                <a:solidFill>
                  <a:srgbClr val="666666"/>
                </a:solidFill>
              </a:rPr>
              <a:t>OutputCollector&lt;Text, IntWritable&gt; output, Reporter reporter)</a:t>
            </a:r>
          </a:p>
          <a:p>
            <a:pPr marL="233363"/>
            <a:r>
              <a:rPr lang="en-IN" sz="1100">
                <a:solidFill>
                  <a:srgbClr val="666666"/>
                </a:solidFill>
              </a:rPr>
              <a:t>throws IOException {</a:t>
            </a:r>
          </a:p>
          <a:p>
            <a:pPr marL="233363"/>
            <a:r>
              <a:rPr lang="en-IN" sz="1100">
                <a:solidFill>
                  <a:srgbClr val="666666"/>
                </a:solidFill>
              </a:rPr>
              <a:t>String s = value.toString();</a:t>
            </a:r>
          </a:p>
          <a:p>
            <a:pPr marL="233363"/>
            <a:r>
              <a:rPr lang="en-IN" sz="1100">
                <a:solidFill>
                  <a:srgbClr val="666666"/>
                </a:solidFill>
              </a:rPr>
              <a:t>for (String word : s.split("\\W+")) {</a:t>
            </a:r>
          </a:p>
          <a:p>
            <a:pPr marL="233363"/>
            <a:r>
              <a:rPr lang="en-IN" sz="1100">
                <a:solidFill>
                  <a:srgbClr val="666666"/>
                </a:solidFill>
              </a:rPr>
              <a:t>if (word.length() &gt; 0) {</a:t>
            </a:r>
          </a:p>
          <a:p>
            <a:pPr marL="233363"/>
            <a:r>
              <a:rPr lang="en-IN" sz="1100">
                <a:solidFill>
                  <a:srgbClr val="666666"/>
                </a:solidFill>
              </a:rPr>
              <a:t>output.collect(new Text(word), new IntWritable(1));</a:t>
            </a:r>
          </a:p>
          <a:p>
            <a:pPr marL="233363"/>
            <a:r>
              <a:rPr lang="en-IN" sz="1100">
                <a:solidFill>
                  <a:srgbClr val="666666"/>
                </a:solidFill>
              </a:rPr>
              <a:t>}</a:t>
            </a:r>
          </a:p>
          <a:p>
            <a:pPr marL="233363"/>
            <a:r>
              <a:rPr lang="en-IN" sz="1100">
                <a:solidFill>
                  <a:srgbClr val="666666"/>
                </a:solidFill>
              </a:rPr>
              <a:t>}</a:t>
            </a:r>
          </a:p>
          <a:p>
            <a:pPr marL="233363"/>
            <a:r>
              <a:rPr lang="en-IN" sz="1100">
                <a:solidFill>
                  <a:srgbClr val="666666"/>
                </a:solidFill>
              </a:rPr>
              <a:t>}</a:t>
            </a:r>
          </a:p>
          <a:p>
            <a:pPr marL="233363"/>
            <a:r>
              <a:rPr lang="en-IN" sz="1100">
                <a:solidFill>
                  <a:srgbClr val="666666"/>
                </a:solidFill>
              </a:rPr>
              <a:t>}</a:t>
            </a:r>
          </a:p>
        </p:txBody>
      </p:sp>
    </p:spTree>
    <p:extLst>
      <p:ext uri="{BB962C8B-B14F-4D97-AF65-F5344CB8AC3E}">
        <p14:creationId xmlns:p14="http://schemas.microsoft.com/office/powerpoint/2010/main" val="1355905589"/>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Reporter Object</a:t>
            </a:r>
            <a:endParaRPr lang="en-IN"/>
          </a:p>
        </p:txBody>
      </p:sp>
      <p:sp>
        <p:nvSpPr>
          <p:cNvPr id="3" name="Rectangle 2"/>
          <p:cNvSpPr/>
          <p:nvPr/>
        </p:nvSpPr>
        <p:spPr bwMode="gray">
          <a:xfrm>
            <a:off x="554037" y="2274838"/>
            <a:ext cx="8270875" cy="1569660"/>
          </a:xfrm>
          <a:prstGeom prst="rect">
            <a:avLst/>
          </a:prstGeom>
        </p:spPr>
        <p:txBody>
          <a:bodyPr wrap="square" lIns="0" tIns="0" rIns="0" bIns="0">
            <a:spAutoFit/>
          </a:bodyPr>
          <a:lstStyle/>
          <a:p>
            <a:pPr marL="233363" indent="-233363">
              <a:spcBef>
                <a:spcPts val="1800"/>
              </a:spcBef>
              <a:buClr>
                <a:srgbClr val="009EDB"/>
              </a:buClr>
              <a:buSzPct val="125000"/>
              <a:buFont typeface="Calibri" panose="020F0502020204030204" pitchFamily="34" charset="0"/>
              <a:buChar char="›"/>
            </a:pPr>
            <a:r>
              <a:rPr lang="en-IN"/>
              <a:t>Notice that in this example we have not used the Reporter object which was passed to the Mapper</a:t>
            </a:r>
          </a:p>
          <a:p>
            <a:pPr marL="233363" indent="-233363">
              <a:spcBef>
                <a:spcPts val="1800"/>
              </a:spcBef>
              <a:buClr>
                <a:srgbClr val="009EDB"/>
              </a:buClr>
              <a:buSzPct val="125000"/>
              <a:buFont typeface="Calibri" panose="020F0502020204030204" pitchFamily="34" charset="0"/>
              <a:buChar char="›"/>
            </a:pPr>
            <a:r>
              <a:rPr lang="en-IN"/>
              <a:t>The Reporter object can be used to pass some information back to the driver code</a:t>
            </a:r>
          </a:p>
          <a:p>
            <a:pPr marL="233363" indent="-233363">
              <a:spcBef>
                <a:spcPts val="1800"/>
              </a:spcBef>
              <a:buClr>
                <a:srgbClr val="009EDB"/>
              </a:buClr>
              <a:buSzPct val="125000"/>
              <a:buFont typeface="Calibri" panose="020F0502020204030204" pitchFamily="34" charset="0"/>
              <a:buChar char="›"/>
            </a:pPr>
            <a:r>
              <a:rPr lang="en-IN"/>
              <a:t>We will investigate the Reporter later in the course</a:t>
            </a:r>
          </a:p>
        </p:txBody>
      </p:sp>
    </p:spTree>
    <p:extLst>
      <p:ext uri="{BB962C8B-B14F-4D97-AF65-F5344CB8AC3E}">
        <p14:creationId xmlns:p14="http://schemas.microsoft.com/office/powerpoint/2010/main" val="1293230272"/>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Reducer: Complete Code</a:t>
            </a:r>
            <a:endParaRPr lang="en-IN"/>
          </a:p>
        </p:txBody>
      </p:sp>
      <p:sp>
        <p:nvSpPr>
          <p:cNvPr id="3" name="Rounded Rectangle 2"/>
          <p:cNvSpPr/>
          <p:nvPr/>
        </p:nvSpPr>
        <p:spPr bwMode="gray">
          <a:xfrm>
            <a:off x="554038" y="1679944"/>
            <a:ext cx="8154027" cy="4157330"/>
          </a:xfrm>
          <a:prstGeom prst="roundRect">
            <a:avLst>
              <a:gd name="adj" fmla="val 5414"/>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9863"/>
            <a:r>
              <a:rPr lang="en-IN" sz="1100">
                <a:solidFill>
                  <a:srgbClr val="666666"/>
                </a:solidFill>
              </a:rPr>
              <a:t>import java.io.IOException;</a:t>
            </a:r>
          </a:p>
          <a:p>
            <a:pPr marL="169863"/>
            <a:r>
              <a:rPr lang="en-IN" sz="1100">
                <a:solidFill>
                  <a:srgbClr val="666666"/>
                </a:solidFill>
              </a:rPr>
              <a:t>import java.util.Iterator;</a:t>
            </a:r>
          </a:p>
          <a:p>
            <a:pPr marL="169863"/>
            <a:r>
              <a:rPr lang="en-IN" sz="1100">
                <a:solidFill>
                  <a:srgbClr val="666666"/>
                </a:solidFill>
              </a:rPr>
              <a:t>import org.apache.hadoop.io.IntWritable;</a:t>
            </a:r>
          </a:p>
          <a:p>
            <a:pPr marL="169863"/>
            <a:r>
              <a:rPr lang="en-IN" sz="1100">
                <a:solidFill>
                  <a:srgbClr val="666666"/>
                </a:solidFill>
              </a:rPr>
              <a:t>import org.apache.hadoop.io.Text;</a:t>
            </a:r>
          </a:p>
          <a:p>
            <a:pPr marL="169863"/>
            <a:r>
              <a:rPr lang="en-IN" sz="1100">
                <a:solidFill>
                  <a:srgbClr val="666666"/>
                </a:solidFill>
              </a:rPr>
              <a:t>import org.apache.hadoop.mapred.OutputCollector;</a:t>
            </a:r>
          </a:p>
          <a:p>
            <a:pPr marL="169863"/>
            <a:r>
              <a:rPr lang="en-IN" sz="1100">
                <a:solidFill>
                  <a:srgbClr val="666666"/>
                </a:solidFill>
              </a:rPr>
              <a:t>import org.apache.hadoop.mapred.MapReduceBase;</a:t>
            </a:r>
          </a:p>
          <a:p>
            <a:pPr marL="169863"/>
            <a:r>
              <a:rPr lang="en-IN" sz="1100">
                <a:solidFill>
                  <a:srgbClr val="666666"/>
                </a:solidFill>
              </a:rPr>
              <a:t>import org.apache.hadoop.mapred.Reducer;</a:t>
            </a:r>
          </a:p>
          <a:p>
            <a:pPr marL="169863"/>
            <a:r>
              <a:rPr lang="en-IN" sz="1100">
                <a:solidFill>
                  <a:srgbClr val="666666"/>
                </a:solidFill>
              </a:rPr>
              <a:t>import org.apache.hadoop.mapred.Reporter;</a:t>
            </a:r>
          </a:p>
          <a:p>
            <a:pPr marL="169863"/>
            <a:r>
              <a:rPr lang="en-IN" sz="1100">
                <a:solidFill>
                  <a:srgbClr val="666666"/>
                </a:solidFill>
              </a:rPr>
              <a:t>public class SumReducer extends MapReduceBase implements</a:t>
            </a:r>
          </a:p>
          <a:p>
            <a:pPr marL="169863"/>
            <a:r>
              <a:rPr lang="en-IN" sz="1100">
                <a:solidFill>
                  <a:srgbClr val="666666"/>
                </a:solidFill>
              </a:rPr>
              <a:t>Reducer&lt;Text, IntWritable, Text, IntWritable&gt; {</a:t>
            </a:r>
          </a:p>
          <a:p>
            <a:pPr marL="169863"/>
            <a:r>
              <a:rPr lang="en-IN" sz="1100">
                <a:solidFill>
                  <a:srgbClr val="666666"/>
                </a:solidFill>
              </a:rPr>
              <a:t>public void reduce(Text key, Iterator&lt;IntWritable&gt; values,</a:t>
            </a:r>
          </a:p>
          <a:p>
            <a:pPr marL="169863"/>
            <a:r>
              <a:rPr lang="en-IN" sz="1100">
                <a:solidFill>
                  <a:srgbClr val="666666"/>
                </a:solidFill>
              </a:rPr>
              <a:t>OutputCollector&lt;Text, IntWritable&gt; output, Reporter reporter)</a:t>
            </a:r>
          </a:p>
          <a:p>
            <a:pPr marL="169863"/>
            <a:r>
              <a:rPr lang="en-IN" sz="1100">
                <a:solidFill>
                  <a:srgbClr val="666666"/>
                </a:solidFill>
              </a:rPr>
              <a:t>throws IOException {</a:t>
            </a:r>
          </a:p>
          <a:p>
            <a:pPr marL="169863"/>
            <a:r>
              <a:rPr lang="en-IN" sz="1100">
                <a:solidFill>
                  <a:srgbClr val="666666"/>
                </a:solidFill>
              </a:rPr>
              <a:t>int wordCount = 0;</a:t>
            </a:r>
          </a:p>
          <a:p>
            <a:pPr marL="169863"/>
            <a:r>
              <a:rPr lang="en-IN" sz="1100">
                <a:solidFill>
                  <a:srgbClr val="666666"/>
                </a:solidFill>
              </a:rPr>
              <a:t>while (values.hasNext()) {</a:t>
            </a:r>
          </a:p>
          <a:p>
            <a:pPr marL="169863"/>
            <a:r>
              <a:rPr lang="en-IN" sz="1100">
                <a:solidFill>
                  <a:srgbClr val="666666"/>
                </a:solidFill>
              </a:rPr>
              <a:t>IntWritable value = values.next();</a:t>
            </a:r>
          </a:p>
          <a:p>
            <a:pPr marL="169863"/>
            <a:r>
              <a:rPr lang="en-IN" sz="1100">
                <a:solidFill>
                  <a:srgbClr val="666666"/>
                </a:solidFill>
              </a:rPr>
              <a:t>wordCount += value.get();</a:t>
            </a:r>
          </a:p>
          <a:p>
            <a:pPr marL="169863"/>
            <a:r>
              <a:rPr lang="en-IN" sz="1100">
                <a:solidFill>
                  <a:srgbClr val="666666"/>
                </a:solidFill>
              </a:rPr>
              <a:t>}</a:t>
            </a:r>
          </a:p>
          <a:p>
            <a:pPr marL="169863"/>
            <a:r>
              <a:rPr lang="en-IN" sz="1100">
                <a:solidFill>
                  <a:srgbClr val="666666"/>
                </a:solidFill>
              </a:rPr>
              <a:t>output.collect(key, new IntWritable(wordCount));</a:t>
            </a:r>
          </a:p>
          <a:p>
            <a:pPr marL="169863"/>
            <a:r>
              <a:rPr lang="en-IN" sz="1100">
                <a:solidFill>
                  <a:srgbClr val="666666"/>
                </a:solidFill>
              </a:rPr>
              <a:t>}</a:t>
            </a:r>
          </a:p>
          <a:p>
            <a:pPr marL="169863"/>
            <a:r>
              <a:rPr lang="en-IN" sz="1100">
                <a:solidFill>
                  <a:srgbClr val="666666"/>
                </a:solidFill>
              </a:rPr>
              <a:t>}</a:t>
            </a:r>
          </a:p>
        </p:txBody>
      </p:sp>
    </p:spTree>
    <p:extLst>
      <p:ext uri="{BB962C8B-B14F-4D97-AF65-F5344CB8AC3E}">
        <p14:creationId xmlns:p14="http://schemas.microsoft.com/office/powerpoint/2010/main" val="1816581083"/>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Reducer: Import Statements</a:t>
            </a:r>
            <a:endParaRPr lang="en-IN"/>
          </a:p>
        </p:txBody>
      </p:sp>
      <p:sp>
        <p:nvSpPr>
          <p:cNvPr id="3" name="Rounded Rectangle 2"/>
          <p:cNvSpPr/>
          <p:nvPr/>
        </p:nvSpPr>
        <p:spPr bwMode="gray">
          <a:xfrm>
            <a:off x="554038" y="1679944"/>
            <a:ext cx="8154027" cy="4157330"/>
          </a:xfrm>
          <a:prstGeom prst="roundRect">
            <a:avLst>
              <a:gd name="adj" fmla="val 4902"/>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9863"/>
            <a:r>
              <a:rPr lang="en-IN" sz="1100">
                <a:solidFill>
                  <a:srgbClr val="666666"/>
                </a:solidFill>
              </a:rPr>
              <a:t>import java.io.IOException;</a:t>
            </a:r>
          </a:p>
          <a:p>
            <a:pPr marL="169863"/>
            <a:r>
              <a:rPr lang="en-IN" sz="1100">
                <a:solidFill>
                  <a:srgbClr val="666666"/>
                </a:solidFill>
              </a:rPr>
              <a:t>import java.util.Iterator;</a:t>
            </a:r>
          </a:p>
          <a:p>
            <a:pPr marL="169863"/>
            <a:r>
              <a:rPr lang="en-IN" sz="1100">
                <a:solidFill>
                  <a:srgbClr val="666666"/>
                </a:solidFill>
              </a:rPr>
              <a:t>import org.apache.hadoop.io.IntWritable;</a:t>
            </a:r>
          </a:p>
          <a:p>
            <a:pPr marL="169863"/>
            <a:r>
              <a:rPr lang="en-IN" sz="1100">
                <a:solidFill>
                  <a:srgbClr val="666666"/>
                </a:solidFill>
              </a:rPr>
              <a:t>import org.apache.hadoop.io.Text;</a:t>
            </a:r>
          </a:p>
          <a:p>
            <a:pPr marL="169863"/>
            <a:r>
              <a:rPr lang="en-IN" sz="1100">
                <a:solidFill>
                  <a:srgbClr val="666666"/>
                </a:solidFill>
              </a:rPr>
              <a:t>import org.apache.hadoop.mapred.OutputCollector;</a:t>
            </a:r>
          </a:p>
          <a:p>
            <a:pPr marL="169863"/>
            <a:r>
              <a:rPr lang="en-IN" sz="1100">
                <a:solidFill>
                  <a:srgbClr val="666666"/>
                </a:solidFill>
              </a:rPr>
              <a:t>import org.apache.hadoop.mapred.MapReduceBase;</a:t>
            </a:r>
          </a:p>
          <a:p>
            <a:pPr marL="169863"/>
            <a:r>
              <a:rPr lang="en-IN" sz="1100">
                <a:solidFill>
                  <a:srgbClr val="666666"/>
                </a:solidFill>
              </a:rPr>
              <a:t>import org.apache.hadoop.mapred.Reducer;</a:t>
            </a:r>
          </a:p>
          <a:p>
            <a:pPr marL="169863"/>
            <a:r>
              <a:rPr lang="en-IN" sz="1100">
                <a:solidFill>
                  <a:srgbClr val="666666"/>
                </a:solidFill>
              </a:rPr>
              <a:t>import org.apache.hadoop.mapred.Reporter;</a:t>
            </a:r>
          </a:p>
          <a:p>
            <a:pPr marL="169863"/>
            <a:r>
              <a:rPr lang="en-IN" sz="1100">
                <a:solidFill>
                  <a:prstClr val="white">
                    <a:lumMod val="75000"/>
                  </a:prstClr>
                </a:solidFill>
              </a:rPr>
              <a:t>public class SumReducer extends MapReduceBase implements</a:t>
            </a:r>
          </a:p>
          <a:p>
            <a:pPr marL="169863"/>
            <a:r>
              <a:rPr lang="en-IN" sz="1100">
                <a:solidFill>
                  <a:prstClr val="white">
                    <a:lumMod val="75000"/>
                  </a:prstClr>
                </a:solidFill>
              </a:rPr>
              <a:t>Reducer&lt;Text, IntWritable, Text, IntWritable&gt; {</a:t>
            </a:r>
          </a:p>
          <a:p>
            <a:pPr marL="169863"/>
            <a:r>
              <a:rPr lang="en-IN" sz="1100">
                <a:solidFill>
                  <a:prstClr val="white">
                    <a:lumMod val="75000"/>
                  </a:prstClr>
                </a:solidFill>
              </a:rPr>
              <a:t>public void reduce(Text key, Iterator&lt;IntWritable&gt; values,</a:t>
            </a:r>
          </a:p>
          <a:p>
            <a:pPr marL="169863"/>
            <a:r>
              <a:rPr lang="en-IN" sz="1100">
                <a:solidFill>
                  <a:prstClr val="white">
                    <a:lumMod val="75000"/>
                  </a:prstClr>
                </a:solidFill>
              </a:rPr>
              <a:t>OutputCollector&lt;Text, IntWritable&gt; output, Reporter reporter)</a:t>
            </a:r>
          </a:p>
          <a:p>
            <a:pPr marL="169863"/>
            <a:r>
              <a:rPr lang="en-IN" sz="1100">
                <a:solidFill>
                  <a:prstClr val="white">
                    <a:lumMod val="75000"/>
                  </a:prstClr>
                </a:solidFill>
              </a:rPr>
              <a:t>throws IOException {</a:t>
            </a:r>
          </a:p>
          <a:p>
            <a:pPr marL="169863"/>
            <a:r>
              <a:rPr lang="en-IN" sz="1100">
                <a:solidFill>
                  <a:prstClr val="white">
                    <a:lumMod val="75000"/>
                  </a:prstClr>
                </a:solidFill>
              </a:rPr>
              <a:t>int wordCount = 0;</a:t>
            </a:r>
          </a:p>
          <a:p>
            <a:pPr marL="169863"/>
            <a:r>
              <a:rPr lang="en-IN" sz="1100">
                <a:solidFill>
                  <a:prstClr val="white">
                    <a:lumMod val="75000"/>
                  </a:prstClr>
                </a:solidFill>
              </a:rPr>
              <a:t>while (values.hasNext()) {</a:t>
            </a:r>
          </a:p>
          <a:p>
            <a:pPr marL="169863"/>
            <a:r>
              <a:rPr lang="en-IN" sz="1100">
                <a:solidFill>
                  <a:prstClr val="white">
                    <a:lumMod val="75000"/>
                  </a:prstClr>
                </a:solidFill>
              </a:rPr>
              <a:t>IntWritable value = values.next();</a:t>
            </a:r>
          </a:p>
          <a:p>
            <a:pPr marL="169863"/>
            <a:r>
              <a:rPr lang="en-IN" sz="1100">
                <a:solidFill>
                  <a:prstClr val="white">
                    <a:lumMod val="75000"/>
                  </a:prstClr>
                </a:solidFill>
              </a:rPr>
              <a:t>wordCount += value.get();</a:t>
            </a:r>
          </a:p>
          <a:p>
            <a:pPr marL="169863"/>
            <a:r>
              <a:rPr lang="en-IN" sz="1100">
                <a:solidFill>
                  <a:prstClr val="white">
                    <a:lumMod val="75000"/>
                  </a:prstClr>
                </a:solidFill>
              </a:rPr>
              <a:t>}</a:t>
            </a:r>
          </a:p>
          <a:p>
            <a:pPr marL="169863"/>
            <a:r>
              <a:rPr lang="en-IN" sz="1100">
                <a:solidFill>
                  <a:prstClr val="white">
                    <a:lumMod val="75000"/>
                  </a:prstClr>
                </a:solidFill>
              </a:rPr>
              <a:t>output.collect(key, new IntWritable(wordCount));</a:t>
            </a:r>
          </a:p>
          <a:p>
            <a:pPr marL="169863"/>
            <a:r>
              <a:rPr lang="en-IN" sz="1100">
                <a:solidFill>
                  <a:prstClr val="white">
                    <a:lumMod val="75000"/>
                  </a:prstClr>
                </a:solidFill>
              </a:rPr>
              <a:t>}</a:t>
            </a:r>
          </a:p>
          <a:p>
            <a:pPr marL="169863"/>
            <a:r>
              <a:rPr lang="en-IN" sz="1100">
                <a:solidFill>
                  <a:prstClr val="white">
                    <a:lumMod val="75000"/>
                  </a:prstClr>
                </a:solidFill>
              </a:rPr>
              <a:t>}</a:t>
            </a:r>
          </a:p>
        </p:txBody>
      </p:sp>
      <p:sp>
        <p:nvSpPr>
          <p:cNvPr id="4" name="Rounded Rectangle 3"/>
          <p:cNvSpPr/>
          <p:nvPr/>
        </p:nvSpPr>
        <p:spPr bwMode="gray">
          <a:xfrm>
            <a:off x="1414129" y="4359652"/>
            <a:ext cx="6879266" cy="1497925"/>
          </a:xfrm>
          <a:prstGeom prst="roundRect">
            <a:avLst>
              <a:gd name="adj" fmla="val 10545"/>
            </a:avLst>
          </a:prstGeom>
          <a:solidFill>
            <a:schemeClr val="bg1"/>
          </a:solidFill>
          <a:ln>
            <a:solidFill>
              <a:schemeClr val="bg1">
                <a:lumMod val="65000"/>
              </a:schemeClr>
            </a:solidFill>
          </a:ln>
        </p:spPr>
        <p:txBody>
          <a:bodyPr wrap="square" lIns="182880" tIns="91440" rIns="182880" bIns="91440">
            <a:spAutoFit/>
          </a:bodyPr>
          <a:lstStyle/>
          <a:p>
            <a:r>
              <a:rPr lang="en-IN" sz="1600">
                <a:solidFill>
                  <a:srgbClr val="666666"/>
                </a:solidFill>
              </a:rPr>
              <a:t>As with the Mapper, you will typically </a:t>
            </a:r>
            <a:r>
              <a:rPr lang="en-IN" sz="1600" smtClean="0">
                <a:solidFill>
                  <a:srgbClr val="666666"/>
                </a:solidFill>
              </a:rPr>
              <a:t>import java.io.IOException</a:t>
            </a:r>
            <a:r>
              <a:rPr lang="en-IN" sz="1600">
                <a:solidFill>
                  <a:srgbClr val="666666"/>
                </a:solidFill>
              </a:rPr>
              <a:t>, and the </a:t>
            </a:r>
            <a:r>
              <a:rPr lang="en-IN" sz="1600" smtClean="0">
                <a:solidFill>
                  <a:srgbClr val="666666"/>
                </a:solidFill>
              </a:rPr>
              <a:t>org.apache.hadoop classes </a:t>
            </a:r>
            <a:r>
              <a:rPr lang="en-IN" sz="1600">
                <a:solidFill>
                  <a:srgbClr val="666666"/>
                </a:solidFill>
              </a:rPr>
              <a:t>shown, in every Reducer you write. You will </a:t>
            </a:r>
            <a:r>
              <a:rPr lang="en-IN" sz="1600" smtClean="0">
                <a:solidFill>
                  <a:srgbClr val="666666"/>
                </a:solidFill>
              </a:rPr>
              <a:t>also import </a:t>
            </a:r>
            <a:r>
              <a:rPr lang="en-IN" sz="1600">
                <a:solidFill>
                  <a:srgbClr val="666666"/>
                </a:solidFill>
              </a:rPr>
              <a:t>java.util.Iterator, which will be used to </a:t>
            </a:r>
            <a:r>
              <a:rPr lang="en-IN" sz="1600" smtClean="0">
                <a:solidFill>
                  <a:srgbClr val="666666"/>
                </a:solidFill>
              </a:rPr>
              <a:t>step through </a:t>
            </a:r>
            <a:r>
              <a:rPr lang="en-IN" sz="1600">
                <a:solidFill>
                  <a:srgbClr val="666666"/>
                </a:solidFill>
              </a:rPr>
              <a:t>the values provided to the Reducer for each </a:t>
            </a:r>
            <a:r>
              <a:rPr lang="en-IN" sz="1600" smtClean="0">
                <a:solidFill>
                  <a:srgbClr val="666666"/>
                </a:solidFill>
              </a:rPr>
              <a:t>key. We </a:t>
            </a:r>
            <a:r>
              <a:rPr lang="en-IN" sz="1600">
                <a:solidFill>
                  <a:srgbClr val="666666"/>
                </a:solidFill>
              </a:rPr>
              <a:t>will omit the import statements in future slides </a:t>
            </a:r>
            <a:r>
              <a:rPr lang="en-IN" sz="1600" smtClean="0">
                <a:solidFill>
                  <a:srgbClr val="666666"/>
                </a:solidFill>
              </a:rPr>
              <a:t>for brevity</a:t>
            </a:r>
            <a:r>
              <a:rPr lang="en-IN" sz="1600">
                <a:solidFill>
                  <a:srgbClr val="666666"/>
                </a:solidFill>
              </a:rPr>
              <a:t>.</a:t>
            </a:r>
          </a:p>
        </p:txBody>
      </p:sp>
    </p:spTree>
    <p:extLst>
      <p:ext uri="{BB962C8B-B14F-4D97-AF65-F5344CB8AC3E}">
        <p14:creationId xmlns:p14="http://schemas.microsoft.com/office/powerpoint/2010/main" val="2020246090"/>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Reducer: Main Code</a:t>
            </a:r>
            <a:endParaRPr lang="en-IN"/>
          </a:p>
        </p:txBody>
      </p:sp>
      <p:sp>
        <p:nvSpPr>
          <p:cNvPr id="3" name="Rounded Rectangle 2"/>
          <p:cNvSpPr/>
          <p:nvPr/>
        </p:nvSpPr>
        <p:spPr bwMode="gray">
          <a:xfrm>
            <a:off x="554038" y="2200939"/>
            <a:ext cx="8154027" cy="3115340"/>
          </a:xfrm>
          <a:prstGeom prst="roundRect">
            <a:avLst>
              <a:gd name="adj" fmla="val 7111"/>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srgbClr val="666666"/>
                </a:solidFill>
              </a:rPr>
              <a:t>public class SumReducer extends MapReduceBase implements</a:t>
            </a:r>
          </a:p>
          <a:p>
            <a:pPr marL="233363"/>
            <a:r>
              <a:rPr lang="en-IN" sz="1100">
                <a:solidFill>
                  <a:srgbClr val="666666"/>
                </a:solidFill>
              </a:rPr>
              <a:t>Reducer&lt;Text, IntWritable, Text, IntWritable&gt; {</a:t>
            </a:r>
          </a:p>
          <a:p>
            <a:pPr marL="233363"/>
            <a:r>
              <a:rPr lang="en-IN" sz="1100">
                <a:solidFill>
                  <a:srgbClr val="666666"/>
                </a:solidFill>
              </a:rPr>
              <a:t>public void reduce(Text key, Iterator&lt;IntWritable&gt; values,</a:t>
            </a:r>
          </a:p>
          <a:p>
            <a:pPr marL="233363"/>
            <a:r>
              <a:rPr lang="en-IN" sz="1100">
                <a:solidFill>
                  <a:srgbClr val="666666"/>
                </a:solidFill>
              </a:rPr>
              <a:t>OutputCollector&lt;Text, IntWritable&gt; output, Reporter reporter)</a:t>
            </a:r>
          </a:p>
          <a:p>
            <a:pPr marL="233363"/>
            <a:r>
              <a:rPr lang="en-IN" sz="1100">
                <a:solidFill>
                  <a:srgbClr val="666666"/>
                </a:solidFill>
              </a:rPr>
              <a:t>throws IOException {</a:t>
            </a:r>
          </a:p>
          <a:p>
            <a:pPr marL="233363"/>
            <a:r>
              <a:rPr lang="en-IN" sz="1100">
                <a:solidFill>
                  <a:srgbClr val="666666"/>
                </a:solidFill>
              </a:rPr>
              <a:t>int wordCount = 0;</a:t>
            </a:r>
          </a:p>
          <a:p>
            <a:pPr marL="233363"/>
            <a:r>
              <a:rPr lang="en-IN" sz="1100">
                <a:solidFill>
                  <a:srgbClr val="666666"/>
                </a:solidFill>
              </a:rPr>
              <a:t>while (values.hasNext()) {</a:t>
            </a:r>
          </a:p>
          <a:p>
            <a:pPr marL="233363"/>
            <a:r>
              <a:rPr lang="en-IN" sz="1100">
                <a:solidFill>
                  <a:srgbClr val="666666"/>
                </a:solidFill>
              </a:rPr>
              <a:t>IntWritable value = values.next();</a:t>
            </a:r>
          </a:p>
          <a:p>
            <a:pPr marL="233363"/>
            <a:r>
              <a:rPr lang="en-IN" sz="1100">
                <a:solidFill>
                  <a:srgbClr val="666666"/>
                </a:solidFill>
              </a:rPr>
              <a:t>wordCount += value.get();</a:t>
            </a:r>
          </a:p>
          <a:p>
            <a:pPr marL="233363"/>
            <a:r>
              <a:rPr lang="en-IN" sz="1100">
                <a:solidFill>
                  <a:srgbClr val="666666"/>
                </a:solidFill>
              </a:rPr>
              <a:t>}</a:t>
            </a:r>
          </a:p>
          <a:p>
            <a:pPr marL="233363"/>
            <a:r>
              <a:rPr lang="en-IN" sz="1100">
                <a:solidFill>
                  <a:srgbClr val="666666"/>
                </a:solidFill>
              </a:rPr>
              <a:t>output.collect(key, new IntWritable(wordCount));</a:t>
            </a:r>
          </a:p>
          <a:p>
            <a:pPr marL="233363"/>
            <a:r>
              <a:rPr lang="en-IN" sz="1100">
                <a:solidFill>
                  <a:srgbClr val="666666"/>
                </a:solidFill>
              </a:rPr>
              <a:t>}</a:t>
            </a:r>
          </a:p>
          <a:p>
            <a:pPr marL="233363"/>
            <a:r>
              <a:rPr lang="en-IN" sz="1100">
                <a:solidFill>
                  <a:srgbClr val="666666"/>
                </a:solidFill>
              </a:rPr>
              <a:t>}</a:t>
            </a:r>
          </a:p>
        </p:txBody>
      </p:sp>
    </p:spTree>
    <p:extLst>
      <p:ext uri="{BB962C8B-B14F-4D97-AF65-F5344CB8AC3E}">
        <p14:creationId xmlns:p14="http://schemas.microsoft.com/office/powerpoint/2010/main" val="2865004928"/>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Reducer: Main Code (cont’d)</a:t>
            </a:r>
            <a:endParaRPr lang="en-IN"/>
          </a:p>
        </p:txBody>
      </p:sp>
      <p:sp>
        <p:nvSpPr>
          <p:cNvPr id="3" name="Rounded Rectangle 2"/>
          <p:cNvSpPr/>
          <p:nvPr/>
        </p:nvSpPr>
        <p:spPr bwMode="gray">
          <a:xfrm>
            <a:off x="554038" y="2200939"/>
            <a:ext cx="8154027" cy="3115340"/>
          </a:xfrm>
          <a:prstGeom prst="roundRect">
            <a:avLst>
              <a:gd name="adj" fmla="val 6428"/>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srgbClr val="666666"/>
                </a:solidFill>
              </a:rPr>
              <a:t>public class SumReducer extends MapReduceBase implements</a:t>
            </a:r>
          </a:p>
          <a:p>
            <a:pPr marL="233363"/>
            <a:r>
              <a:rPr lang="en-IN" sz="1100">
                <a:solidFill>
                  <a:srgbClr val="666666"/>
                </a:solidFill>
              </a:rPr>
              <a:t>Reducer&lt;Text, IntWritable, Text, IntWritable&gt; {</a:t>
            </a:r>
          </a:p>
          <a:p>
            <a:pPr marL="233363"/>
            <a:r>
              <a:rPr lang="en-IN" sz="1100">
                <a:solidFill>
                  <a:prstClr val="white">
                    <a:lumMod val="75000"/>
                  </a:prstClr>
                </a:solidFill>
              </a:rPr>
              <a:t>public void reduce(Text key, Iterator&lt;IntWritable&gt; values,</a:t>
            </a:r>
          </a:p>
          <a:p>
            <a:pPr marL="233363"/>
            <a:r>
              <a:rPr lang="en-IN" sz="1100">
                <a:solidFill>
                  <a:prstClr val="white">
                    <a:lumMod val="75000"/>
                  </a:prstClr>
                </a:solidFill>
              </a:rPr>
              <a:t>OutputCollector&lt;Text, IntWritable&gt; output, Reporter reporter)</a:t>
            </a:r>
          </a:p>
          <a:p>
            <a:pPr marL="233363"/>
            <a:r>
              <a:rPr lang="en-IN" sz="1100">
                <a:solidFill>
                  <a:prstClr val="white">
                    <a:lumMod val="75000"/>
                  </a:prstClr>
                </a:solidFill>
              </a:rPr>
              <a:t>throws IOException {</a:t>
            </a:r>
          </a:p>
          <a:p>
            <a:pPr marL="233363"/>
            <a:r>
              <a:rPr lang="en-IN" sz="1100">
                <a:solidFill>
                  <a:prstClr val="white">
                    <a:lumMod val="75000"/>
                  </a:prstClr>
                </a:solidFill>
              </a:rPr>
              <a:t>int wordCount = 0;</a:t>
            </a:r>
          </a:p>
          <a:p>
            <a:pPr marL="233363"/>
            <a:r>
              <a:rPr lang="en-IN" sz="1100">
                <a:solidFill>
                  <a:prstClr val="white">
                    <a:lumMod val="75000"/>
                  </a:prstClr>
                </a:solidFill>
              </a:rPr>
              <a:t>while (values.hasNext()) {</a:t>
            </a:r>
          </a:p>
          <a:p>
            <a:pPr marL="233363"/>
            <a:r>
              <a:rPr lang="en-IN" sz="1100">
                <a:solidFill>
                  <a:prstClr val="white">
                    <a:lumMod val="75000"/>
                  </a:prstClr>
                </a:solidFill>
              </a:rPr>
              <a:t>IntWritable value = values.next();</a:t>
            </a:r>
          </a:p>
          <a:p>
            <a:pPr marL="233363"/>
            <a:r>
              <a:rPr lang="en-IN" sz="1100">
                <a:solidFill>
                  <a:prstClr val="white">
                    <a:lumMod val="75000"/>
                  </a:prstClr>
                </a:solidFill>
              </a:rPr>
              <a:t>wordCount += value.get();</a:t>
            </a:r>
          </a:p>
          <a:p>
            <a:pPr marL="233363"/>
            <a:r>
              <a:rPr lang="en-IN" sz="1100">
                <a:solidFill>
                  <a:prstClr val="white">
                    <a:lumMod val="75000"/>
                  </a:prstClr>
                </a:solidFill>
              </a:rPr>
              <a:t>}</a:t>
            </a:r>
          </a:p>
          <a:p>
            <a:pPr marL="233363"/>
            <a:r>
              <a:rPr lang="en-IN" sz="1100">
                <a:solidFill>
                  <a:prstClr val="white">
                    <a:lumMod val="75000"/>
                  </a:prstClr>
                </a:solidFill>
              </a:rPr>
              <a:t>output.collect(key, new IntWritable(wordCount));</a:t>
            </a:r>
          </a:p>
          <a:p>
            <a:pPr marL="233363"/>
            <a:r>
              <a:rPr lang="en-IN" sz="1100">
                <a:solidFill>
                  <a:prstClr val="white">
                    <a:lumMod val="75000"/>
                  </a:prstClr>
                </a:solidFill>
              </a:rPr>
              <a:t>}</a:t>
            </a:r>
          </a:p>
          <a:p>
            <a:pPr marL="233363"/>
            <a:r>
              <a:rPr lang="en-IN" sz="1100">
                <a:solidFill>
                  <a:prstClr val="white">
                    <a:lumMod val="75000"/>
                  </a:prstClr>
                </a:solidFill>
              </a:rPr>
              <a:t>}</a:t>
            </a:r>
          </a:p>
        </p:txBody>
      </p:sp>
      <p:sp>
        <p:nvSpPr>
          <p:cNvPr id="4" name="Rounded Rectangle 3"/>
          <p:cNvSpPr/>
          <p:nvPr/>
        </p:nvSpPr>
        <p:spPr bwMode="gray">
          <a:xfrm>
            <a:off x="1350333" y="4359652"/>
            <a:ext cx="7006858" cy="1484233"/>
          </a:xfrm>
          <a:prstGeom prst="roundRect">
            <a:avLst>
              <a:gd name="adj" fmla="val 9381"/>
            </a:avLst>
          </a:prstGeom>
          <a:solidFill>
            <a:schemeClr val="bg1"/>
          </a:solidFill>
          <a:ln>
            <a:solidFill>
              <a:schemeClr val="bg1">
                <a:lumMod val="65000"/>
              </a:schemeClr>
            </a:solidFill>
          </a:ln>
        </p:spPr>
        <p:txBody>
          <a:bodyPr wrap="square" lIns="182880" tIns="91440" rIns="182880" bIns="91440">
            <a:spAutoFit/>
          </a:bodyPr>
          <a:lstStyle/>
          <a:p>
            <a:r>
              <a:rPr lang="en-IN" sz="1600">
                <a:solidFill>
                  <a:srgbClr val="666666"/>
                </a:solidFill>
              </a:rPr>
              <a:t>Your Reducer class should extend </a:t>
            </a:r>
            <a:r>
              <a:rPr lang="en-IN" sz="1600" smtClean="0">
                <a:solidFill>
                  <a:srgbClr val="666666"/>
                </a:solidFill>
              </a:rPr>
              <a:t>MapReduceBase and </a:t>
            </a:r>
            <a:r>
              <a:rPr lang="en-IN" sz="1600">
                <a:solidFill>
                  <a:srgbClr val="666666"/>
                </a:solidFill>
              </a:rPr>
              <a:t>implement Reducer. The Reducer </a:t>
            </a:r>
            <a:r>
              <a:rPr lang="en-IN" sz="1600" smtClean="0">
                <a:solidFill>
                  <a:srgbClr val="666666"/>
                </a:solidFill>
              </a:rPr>
              <a:t>interface expects </a:t>
            </a:r>
            <a:r>
              <a:rPr lang="en-IN" sz="1600">
                <a:solidFill>
                  <a:srgbClr val="666666"/>
                </a:solidFill>
              </a:rPr>
              <a:t>four generics, which define the types of </a:t>
            </a:r>
            <a:r>
              <a:rPr lang="en-IN" sz="1600" smtClean="0">
                <a:solidFill>
                  <a:srgbClr val="666666"/>
                </a:solidFill>
              </a:rPr>
              <a:t>the input </a:t>
            </a:r>
            <a:r>
              <a:rPr lang="en-IN" sz="1600">
                <a:solidFill>
                  <a:srgbClr val="666666"/>
                </a:solidFill>
              </a:rPr>
              <a:t>and output key/value pairs. The first </a:t>
            </a:r>
            <a:r>
              <a:rPr lang="en-IN" sz="1600" smtClean="0">
                <a:solidFill>
                  <a:srgbClr val="666666"/>
                </a:solidFill>
              </a:rPr>
              <a:t>two parameters </a:t>
            </a:r>
            <a:r>
              <a:rPr lang="en-IN" sz="1600">
                <a:solidFill>
                  <a:srgbClr val="666666"/>
                </a:solidFill>
              </a:rPr>
              <a:t>define the intermediate key and </a:t>
            </a:r>
            <a:r>
              <a:rPr lang="en-IN" sz="1600" smtClean="0">
                <a:solidFill>
                  <a:srgbClr val="666666"/>
                </a:solidFill>
              </a:rPr>
              <a:t>value types</a:t>
            </a:r>
            <a:r>
              <a:rPr lang="en-IN" sz="1600">
                <a:solidFill>
                  <a:srgbClr val="666666"/>
                </a:solidFill>
              </a:rPr>
              <a:t>, the second two define the final output key </a:t>
            </a:r>
            <a:r>
              <a:rPr lang="en-IN" sz="1600" smtClean="0">
                <a:solidFill>
                  <a:srgbClr val="666666"/>
                </a:solidFill>
              </a:rPr>
              <a:t>and value </a:t>
            </a:r>
            <a:r>
              <a:rPr lang="en-IN" sz="1600">
                <a:solidFill>
                  <a:srgbClr val="666666"/>
                </a:solidFill>
              </a:rPr>
              <a:t>types. The keys are </a:t>
            </a:r>
            <a:r>
              <a:rPr lang="en-IN" sz="1600" smtClean="0">
                <a:solidFill>
                  <a:srgbClr val="666666"/>
                </a:solidFill>
              </a:rPr>
              <a:t>WritableComparables, the </a:t>
            </a:r>
            <a:r>
              <a:rPr lang="en-IN" sz="1600">
                <a:solidFill>
                  <a:srgbClr val="666666"/>
                </a:solidFill>
              </a:rPr>
              <a:t>values are Writables.</a:t>
            </a:r>
          </a:p>
        </p:txBody>
      </p:sp>
    </p:spTree>
    <p:extLst>
      <p:ext uri="{BB962C8B-B14F-4D97-AF65-F5344CB8AC3E}">
        <p14:creationId xmlns:p14="http://schemas.microsoft.com/office/powerpoint/2010/main" val="1319401035"/>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reduce Method</a:t>
            </a:r>
            <a:endParaRPr lang="en-IN"/>
          </a:p>
        </p:txBody>
      </p:sp>
      <p:sp>
        <p:nvSpPr>
          <p:cNvPr id="3" name="Rounded Rectangle 2"/>
          <p:cNvSpPr/>
          <p:nvPr/>
        </p:nvSpPr>
        <p:spPr bwMode="gray">
          <a:xfrm>
            <a:off x="554038" y="2200939"/>
            <a:ext cx="8154027" cy="3115340"/>
          </a:xfrm>
          <a:prstGeom prst="roundRect">
            <a:avLst>
              <a:gd name="adj" fmla="val 6428"/>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prstClr val="white">
                    <a:lumMod val="75000"/>
                  </a:prstClr>
                </a:solidFill>
              </a:rPr>
              <a:t>public class SumReducer extends MapReduceBase implements</a:t>
            </a:r>
          </a:p>
          <a:p>
            <a:pPr marL="233363"/>
            <a:r>
              <a:rPr lang="en-IN" sz="1100">
                <a:solidFill>
                  <a:prstClr val="white">
                    <a:lumMod val="75000"/>
                  </a:prstClr>
                </a:solidFill>
              </a:rPr>
              <a:t>Reducer&lt;Text, IntWritable, Text, IntWritable&gt; {</a:t>
            </a:r>
          </a:p>
          <a:p>
            <a:pPr marL="233363"/>
            <a:r>
              <a:rPr lang="en-IN" sz="1100">
                <a:solidFill>
                  <a:srgbClr val="666666"/>
                </a:solidFill>
              </a:rPr>
              <a:t>public void reduce(Text key, Iterator&lt;IntWritable&gt; values,</a:t>
            </a:r>
          </a:p>
          <a:p>
            <a:pPr marL="233363"/>
            <a:r>
              <a:rPr lang="en-IN" sz="1100">
                <a:solidFill>
                  <a:srgbClr val="666666"/>
                </a:solidFill>
              </a:rPr>
              <a:t>OutputCollector&lt;Text, IntWritable&gt; output, Reporter reporter)</a:t>
            </a:r>
          </a:p>
          <a:p>
            <a:pPr marL="233363"/>
            <a:r>
              <a:rPr lang="en-IN" sz="1100">
                <a:solidFill>
                  <a:srgbClr val="666666"/>
                </a:solidFill>
              </a:rPr>
              <a:t>throws IOException {</a:t>
            </a:r>
          </a:p>
          <a:p>
            <a:pPr marL="233363"/>
            <a:r>
              <a:rPr lang="en-IN" sz="1100">
                <a:solidFill>
                  <a:prstClr val="white">
                    <a:lumMod val="75000"/>
                  </a:prstClr>
                </a:solidFill>
              </a:rPr>
              <a:t>int wordCount = 0;</a:t>
            </a:r>
          </a:p>
          <a:p>
            <a:pPr marL="233363"/>
            <a:r>
              <a:rPr lang="en-IN" sz="1100">
                <a:solidFill>
                  <a:prstClr val="white">
                    <a:lumMod val="75000"/>
                  </a:prstClr>
                </a:solidFill>
              </a:rPr>
              <a:t>while (values.hasNext()) {</a:t>
            </a:r>
          </a:p>
          <a:p>
            <a:pPr marL="233363"/>
            <a:r>
              <a:rPr lang="en-IN" sz="1100">
                <a:solidFill>
                  <a:prstClr val="white">
                    <a:lumMod val="75000"/>
                  </a:prstClr>
                </a:solidFill>
              </a:rPr>
              <a:t>IntWritable value = values.next();</a:t>
            </a:r>
          </a:p>
          <a:p>
            <a:pPr marL="233363"/>
            <a:r>
              <a:rPr lang="en-IN" sz="1100">
                <a:solidFill>
                  <a:prstClr val="white">
                    <a:lumMod val="75000"/>
                  </a:prstClr>
                </a:solidFill>
              </a:rPr>
              <a:t>wordCount += value.get();</a:t>
            </a:r>
          </a:p>
          <a:p>
            <a:pPr marL="233363"/>
            <a:r>
              <a:rPr lang="en-IN" sz="1100">
                <a:solidFill>
                  <a:prstClr val="white">
                    <a:lumMod val="75000"/>
                  </a:prstClr>
                </a:solidFill>
              </a:rPr>
              <a:t>}</a:t>
            </a:r>
          </a:p>
          <a:p>
            <a:pPr marL="233363"/>
            <a:r>
              <a:rPr lang="en-IN" sz="1100">
                <a:solidFill>
                  <a:prstClr val="white">
                    <a:lumMod val="75000"/>
                  </a:prstClr>
                </a:solidFill>
              </a:rPr>
              <a:t>output.collect(key, new IntWritable(wordCount));</a:t>
            </a:r>
          </a:p>
          <a:p>
            <a:pPr marL="233363"/>
            <a:r>
              <a:rPr lang="en-IN" sz="1100">
                <a:solidFill>
                  <a:prstClr val="white">
                    <a:lumMod val="75000"/>
                  </a:prstClr>
                </a:solidFill>
              </a:rPr>
              <a:t>}</a:t>
            </a:r>
          </a:p>
          <a:p>
            <a:pPr marL="233363"/>
            <a:r>
              <a:rPr lang="en-IN" sz="1100">
                <a:solidFill>
                  <a:prstClr val="white">
                    <a:lumMod val="75000"/>
                  </a:prstClr>
                </a:solidFill>
              </a:rPr>
              <a:t>}</a:t>
            </a:r>
          </a:p>
        </p:txBody>
      </p:sp>
      <p:sp>
        <p:nvSpPr>
          <p:cNvPr id="4" name="Rounded Rectangle 3"/>
          <p:cNvSpPr/>
          <p:nvPr/>
        </p:nvSpPr>
        <p:spPr bwMode="gray">
          <a:xfrm>
            <a:off x="1350333" y="4359652"/>
            <a:ext cx="6847370" cy="749141"/>
          </a:xfrm>
          <a:prstGeom prst="roundRect">
            <a:avLst/>
          </a:prstGeom>
          <a:solidFill>
            <a:schemeClr val="bg1"/>
          </a:solidFill>
          <a:ln>
            <a:solidFill>
              <a:schemeClr val="bg1">
                <a:lumMod val="65000"/>
              </a:schemeClr>
            </a:solidFill>
          </a:ln>
        </p:spPr>
        <p:txBody>
          <a:bodyPr wrap="square" lIns="182880" tIns="91440" rIns="182880" bIns="91440">
            <a:spAutoFit/>
          </a:bodyPr>
          <a:lstStyle/>
          <a:p>
            <a:r>
              <a:rPr lang="en-IN" sz="1600">
                <a:solidFill>
                  <a:srgbClr val="666666"/>
                </a:solidFill>
              </a:rPr>
              <a:t>The reduce method receives a key and an Iterator </a:t>
            </a:r>
            <a:r>
              <a:rPr lang="en-IN" sz="1600" smtClean="0">
                <a:solidFill>
                  <a:srgbClr val="666666"/>
                </a:solidFill>
              </a:rPr>
              <a:t>of values</a:t>
            </a:r>
            <a:r>
              <a:rPr lang="en-IN" sz="1600">
                <a:solidFill>
                  <a:srgbClr val="666666"/>
                </a:solidFill>
              </a:rPr>
              <a:t>; it also receives an OutputCollector </a:t>
            </a:r>
            <a:r>
              <a:rPr lang="en-IN" sz="1600" smtClean="0">
                <a:solidFill>
                  <a:srgbClr val="666666"/>
                </a:solidFill>
              </a:rPr>
              <a:t>object and </a:t>
            </a:r>
            <a:r>
              <a:rPr lang="en-IN" sz="1600">
                <a:solidFill>
                  <a:srgbClr val="666666"/>
                </a:solidFill>
              </a:rPr>
              <a:t>a Reporter object.</a:t>
            </a:r>
          </a:p>
        </p:txBody>
      </p:sp>
    </p:spTree>
    <p:extLst>
      <p:ext uri="{BB962C8B-B14F-4D97-AF65-F5344CB8AC3E}">
        <p14:creationId xmlns:p14="http://schemas.microsoft.com/office/powerpoint/2010/main" val="144215737"/>
      </p:ext>
    </p:extLst>
  </p:cSld>
  <p:clrMapOvr>
    <a:masterClrMapping/>
  </p:clrMapOvr>
  <p:transition>
    <p:fade/>
  </p:transition>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Processing The Values</a:t>
            </a:r>
            <a:endParaRPr lang="en-IN"/>
          </a:p>
        </p:txBody>
      </p:sp>
      <p:sp>
        <p:nvSpPr>
          <p:cNvPr id="3" name="Rounded Rectangle 2"/>
          <p:cNvSpPr/>
          <p:nvPr/>
        </p:nvSpPr>
        <p:spPr bwMode="gray">
          <a:xfrm>
            <a:off x="554038" y="2200939"/>
            <a:ext cx="8154027" cy="3115340"/>
          </a:xfrm>
          <a:prstGeom prst="roundRect">
            <a:avLst>
              <a:gd name="adj" fmla="val 7452"/>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prstClr val="white">
                    <a:lumMod val="75000"/>
                  </a:prstClr>
                </a:solidFill>
              </a:rPr>
              <a:t>public class SumReducer extends MapReduceBase implements</a:t>
            </a:r>
          </a:p>
          <a:p>
            <a:pPr marL="233363"/>
            <a:r>
              <a:rPr lang="en-IN" sz="1100">
                <a:solidFill>
                  <a:prstClr val="white">
                    <a:lumMod val="75000"/>
                  </a:prstClr>
                </a:solidFill>
              </a:rPr>
              <a:t>Reducer&lt;Text, IntWritable, Text, IntWritable&gt; {</a:t>
            </a:r>
          </a:p>
          <a:p>
            <a:pPr marL="233363"/>
            <a:r>
              <a:rPr lang="en-IN" sz="1100">
                <a:solidFill>
                  <a:prstClr val="white">
                    <a:lumMod val="75000"/>
                  </a:prstClr>
                </a:solidFill>
              </a:rPr>
              <a:t>public void reduce(Text key, Iterator&lt;IntWritable&gt; values,</a:t>
            </a:r>
          </a:p>
          <a:p>
            <a:pPr marL="233363"/>
            <a:r>
              <a:rPr lang="en-IN" sz="1100">
                <a:solidFill>
                  <a:prstClr val="white">
                    <a:lumMod val="75000"/>
                  </a:prstClr>
                </a:solidFill>
              </a:rPr>
              <a:t>OutputCollector&lt;Text, IntWritable&gt; output, Reporter reporter)</a:t>
            </a:r>
          </a:p>
          <a:p>
            <a:pPr marL="233363"/>
            <a:r>
              <a:rPr lang="en-IN" sz="1100">
                <a:solidFill>
                  <a:prstClr val="white">
                    <a:lumMod val="75000"/>
                  </a:prstClr>
                </a:solidFill>
              </a:rPr>
              <a:t>throws IOException {</a:t>
            </a:r>
          </a:p>
          <a:p>
            <a:pPr marL="233363"/>
            <a:r>
              <a:rPr lang="en-IN" sz="1100">
                <a:solidFill>
                  <a:srgbClr val="666666"/>
                </a:solidFill>
              </a:rPr>
              <a:t>int wordCount = 0;</a:t>
            </a:r>
          </a:p>
          <a:p>
            <a:pPr marL="233363"/>
            <a:r>
              <a:rPr lang="en-IN" sz="1100">
                <a:solidFill>
                  <a:srgbClr val="666666"/>
                </a:solidFill>
              </a:rPr>
              <a:t>while (values.hasNext()) {</a:t>
            </a:r>
          </a:p>
          <a:p>
            <a:pPr marL="233363"/>
            <a:r>
              <a:rPr lang="en-IN" sz="1100">
                <a:solidFill>
                  <a:srgbClr val="666666"/>
                </a:solidFill>
              </a:rPr>
              <a:t>IntWritable value = values.next();</a:t>
            </a:r>
          </a:p>
          <a:p>
            <a:pPr marL="233363"/>
            <a:r>
              <a:rPr lang="en-IN" sz="1100">
                <a:solidFill>
                  <a:srgbClr val="666666"/>
                </a:solidFill>
              </a:rPr>
              <a:t>wordCount += value.get();</a:t>
            </a:r>
          </a:p>
          <a:p>
            <a:pPr marL="233363"/>
            <a:r>
              <a:rPr lang="en-IN" sz="1100">
                <a:solidFill>
                  <a:srgbClr val="666666"/>
                </a:solidFill>
              </a:rPr>
              <a:t>}</a:t>
            </a:r>
          </a:p>
          <a:p>
            <a:pPr marL="233363"/>
            <a:r>
              <a:rPr lang="en-IN" sz="1100">
                <a:solidFill>
                  <a:prstClr val="white">
                    <a:lumMod val="75000"/>
                  </a:prstClr>
                </a:solidFill>
              </a:rPr>
              <a:t>output.collect(key, new IntWritable(wordCount));</a:t>
            </a:r>
          </a:p>
          <a:p>
            <a:pPr marL="233363"/>
            <a:r>
              <a:rPr lang="en-IN" sz="1100">
                <a:solidFill>
                  <a:prstClr val="white">
                    <a:lumMod val="75000"/>
                  </a:prstClr>
                </a:solidFill>
              </a:rPr>
              <a:t>}</a:t>
            </a:r>
          </a:p>
          <a:p>
            <a:pPr marL="233363"/>
            <a:r>
              <a:rPr lang="en-IN" sz="1100">
                <a:solidFill>
                  <a:prstClr val="white">
                    <a:lumMod val="75000"/>
                  </a:prstClr>
                </a:solidFill>
              </a:rPr>
              <a:t>}</a:t>
            </a:r>
          </a:p>
        </p:txBody>
      </p:sp>
      <p:sp>
        <p:nvSpPr>
          <p:cNvPr id="4" name="Rounded Rectangle 3"/>
          <p:cNvSpPr/>
          <p:nvPr/>
        </p:nvSpPr>
        <p:spPr bwMode="gray">
          <a:xfrm>
            <a:off x="1350333" y="4359652"/>
            <a:ext cx="6847370" cy="985838"/>
          </a:xfrm>
          <a:prstGeom prst="roundRect">
            <a:avLst>
              <a:gd name="adj" fmla="val 11463"/>
            </a:avLst>
          </a:prstGeom>
          <a:solidFill>
            <a:schemeClr val="bg1"/>
          </a:solidFill>
          <a:ln>
            <a:solidFill>
              <a:schemeClr val="bg1">
                <a:lumMod val="65000"/>
              </a:schemeClr>
            </a:solidFill>
          </a:ln>
        </p:spPr>
        <p:txBody>
          <a:bodyPr wrap="square" lIns="182880" tIns="91440" rIns="182880" bIns="91440">
            <a:spAutoFit/>
          </a:bodyPr>
          <a:lstStyle/>
          <a:p>
            <a:r>
              <a:rPr lang="en-IN" sz="1600">
                <a:solidFill>
                  <a:srgbClr val="666666"/>
                </a:solidFill>
              </a:rPr>
              <a:t>We use the hasNext() and next() methods </a:t>
            </a:r>
            <a:r>
              <a:rPr lang="en-IN" sz="1600" smtClean="0">
                <a:solidFill>
                  <a:srgbClr val="666666"/>
                </a:solidFill>
              </a:rPr>
              <a:t>on values </a:t>
            </a:r>
            <a:r>
              <a:rPr lang="en-IN" sz="1600">
                <a:solidFill>
                  <a:srgbClr val="666666"/>
                </a:solidFill>
              </a:rPr>
              <a:t>to step through all the elements in the </a:t>
            </a:r>
            <a:r>
              <a:rPr lang="en-IN" sz="1600" smtClean="0">
                <a:solidFill>
                  <a:srgbClr val="666666"/>
                </a:solidFill>
              </a:rPr>
              <a:t>iterator. In </a:t>
            </a:r>
            <a:r>
              <a:rPr lang="en-IN" sz="1600">
                <a:solidFill>
                  <a:srgbClr val="666666"/>
                </a:solidFill>
              </a:rPr>
              <a:t>our example, we are merely adding all the </a:t>
            </a:r>
            <a:r>
              <a:rPr lang="en-IN" sz="1600" smtClean="0">
                <a:solidFill>
                  <a:srgbClr val="666666"/>
                </a:solidFill>
              </a:rPr>
              <a:t>values together</a:t>
            </a:r>
            <a:r>
              <a:rPr lang="en-IN" sz="1600">
                <a:solidFill>
                  <a:srgbClr val="666666"/>
                </a:solidFill>
              </a:rPr>
              <a:t>. We use value().get() to retrieve </a:t>
            </a:r>
            <a:r>
              <a:rPr lang="en-IN" sz="1600" smtClean="0">
                <a:solidFill>
                  <a:srgbClr val="666666"/>
                </a:solidFill>
              </a:rPr>
              <a:t>the actual </a:t>
            </a:r>
            <a:r>
              <a:rPr lang="en-IN" sz="1600">
                <a:solidFill>
                  <a:srgbClr val="666666"/>
                </a:solidFill>
              </a:rPr>
              <a:t>numeric value.</a:t>
            </a:r>
          </a:p>
        </p:txBody>
      </p:sp>
    </p:spTree>
    <p:extLst>
      <p:ext uri="{BB962C8B-B14F-4D97-AF65-F5344CB8AC3E}">
        <p14:creationId xmlns:p14="http://schemas.microsoft.com/office/powerpoint/2010/main" val="378157394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HADOOP ADVANTAGE</a:t>
            </a:r>
            <a:endParaRPr lang="en-IN"/>
          </a:p>
        </p:txBody>
      </p:sp>
      <p:sp>
        <p:nvSpPr>
          <p:cNvPr id="24" name="Cloud Callout 23"/>
          <p:cNvSpPr/>
          <p:nvPr/>
        </p:nvSpPr>
        <p:spPr bwMode="gray">
          <a:xfrm>
            <a:off x="584200" y="2264070"/>
            <a:ext cx="2129971" cy="1050925"/>
          </a:xfrm>
          <a:prstGeom prst="cloudCallout">
            <a:avLst>
              <a:gd name="adj1" fmla="val 62840"/>
              <a:gd name="adj2" fmla="val 101692"/>
            </a:avLst>
          </a:pr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IN" sz="1200">
                <a:solidFill>
                  <a:schemeClr val="bg1"/>
                </a:solidFill>
              </a:rPr>
              <a:t>Entire 2PB Data is available for processing</a:t>
            </a:r>
          </a:p>
        </p:txBody>
      </p:sp>
      <p:sp>
        <p:nvSpPr>
          <p:cNvPr id="25" name="Cloud Callout 24"/>
          <p:cNvSpPr/>
          <p:nvPr/>
        </p:nvSpPr>
        <p:spPr bwMode="gray">
          <a:xfrm>
            <a:off x="686405" y="4983126"/>
            <a:ext cx="1850061" cy="870857"/>
          </a:xfrm>
          <a:prstGeom prst="cloudCallout">
            <a:avLst>
              <a:gd name="adj1" fmla="val 109408"/>
              <a:gd name="adj2" fmla="val -80378"/>
            </a:avLst>
          </a:pr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IN" sz="1200">
                <a:solidFill>
                  <a:schemeClr val="bg1"/>
                </a:solidFill>
              </a:rPr>
              <a:t>Both Storage And Processing</a:t>
            </a:r>
          </a:p>
        </p:txBody>
      </p:sp>
      <p:sp>
        <p:nvSpPr>
          <p:cNvPr id="26" name="Cloud Callout 25"/>
          <p:cNvSpPr/>
          <p:nvPr/>
        </p:nvSpPr>
        <p:spPr bwMode="gray">
          <a:xfrm>
            <a:off x="7715326" y="2083282"/>
            <a:ext cx="1428674" cy="949026"/>
          </a:xfrm>
          <a:prstGeom prst="cloudCallout">
            <a:avLst>
              <a:gd name="adj1" fmla="val -78348"/>
              <a:gd name="adj2" fmla="val 33819"/>
            </a:avLst>
          </a:pr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IN" sz="1200">
                <a:solidFill>
                  <a:schemeClr val="bg1"/>
                </a:solidFill>
              </a:rPr>
              <a:t>No Data Archiving</a:t>
            </a:r>
          </a:p>
        </p:txBody>
      </p:sp>
      <p:sp>
        <p:nvSpPr>
          <p:cNvPr id="40" name="Rounded Rectangle 39"/>
          <p:cNvSpPr/>
          <p:nvPr/>
        </p:nvSpPr>
        <p:spPr bwMode="gray">
          <a:xfrm>
            <a:off x="3454400" y="1719036"/>
            <a:ext cx="2510972" cy="437244"/>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a:t>BI Reports + Interactive Apps</a:t>
            </a:r>
          </a:p>
        </p:txBody>
      </p:sp>
      <p:sp>
        <p:nvSpPr>
          <p:cNvPr id="41" name="Rounded Rectangle 40"/>
          <p:cNvSpPr/>
          <p:nvPr/>
        </p:nvSpPr>
        <p:spPr bwMode="gray">
          <a:xfrm>
            <a:off x="3454400" y="2279857"/>
            <a:ext cx="2510972" cy="437244"/>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a:t>RDBMS (Aggregated Data)</a:t>
            </a:r>
          </a:p>
        </p:txBody>
      </p:sp>
      <p:sp>
        <p:nvSpPr>
          <p:cNvPr id="43" name="Rounded Rectangle 42"/>
          <p:cNvSpPr/>
          <p:nvPr/>
        </p:nvSpPr>
        <p:spPr bwMode="gray">
          <a:xfrm>
            <a:off x="3693549" y="3934321"/>
            <a:ext cx="3585028" cy="437244"/>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t>Hadoop: Storage + Compute Grid</a:t>
            </a:r>
          </a:p>
        </p:txBody>
      </p:sp>
      <p:sp>
        <p:nvSpPr>
          <p:cNvPr id="45" name="Rounded Rectangle 44"/>
          <p:cNvSpPr/>
          <p:nvPr/>
        </p:nvSpPr>
        <p:spPr bwMode="gray">
          <a:xfrm>
            <a:off x="2917372" y="4981356"/>
            <a:ext cx="3585028" cy="437244"/>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Collection</a:t>
            </a:r>
            <a:endParaRPr lang="en-IN" sz="1400"/>
          </a:p>
        </p:txBody>
      </p:sp>
      <p:sp>
        <p:nvSpPr>
          <p:cNvPr id="3" name="Rectangle 2"/>
          <p:cNvSpPr/>
          <p:nvPr/>
        </p:nvSpPr>
        <p:spPr bwMode="gray">
          <a:xfrm>
            <a:off x="6070869" y="1585663"/>
            <a:ext cx="1456982" cy="646331"/>
          </a:xfrm>
          <a:prstGeom prst="rect">
            <a:avLst/>
          </a:prstGeom>
        </p:spPr>
        <p:txBody>
          <a:bodyPr wrap="square">
            <a:spAutoFit/>
          </a:bodyPr>
          <a:lstStyle/>
          <a:p>
            <a:r>
              <a:rPr lang="en-IN" sz="1200"/>
              <a:t>1. Data Exploration &amp; Advanced analytics</a:t>
            </a:r>
          </a:p>
        </p:txBody>
      </p:sp>
      <p:sp>
        <p:nvSpPr>
          <p:cNvPr id="13" name="Rectangle 12"/>
          <p:cNvSpPr/>
          <p:nvPr/>
        </p:nvSpPr>
        <p:spPr bwMode="gray">
          <a:xfrm>
            <a:off x="4013279" y="2988858"/>
            <a:ext cx="1966354" cy="461665"/>
          </a:xfrm>
          <a:prstGeom prst="rect">
            <a:avLst/>
          </a:prstGeom>
        </p:spPr>
        <p:txBody>
          <a:bodyPr wrap="square">
            <a:spAutoFit/>
          </a:bodyPr>
          <a:lstStyle/>
          <a:p>
            <a:r>
              <a:rPr lang="en-IN" sz="1200"/>
              <a:t>2. Scalable throughout for ETL &amp; aggregation</a:t>
            </a:r>
          </a:p>
        </p:txBody>
      </p:sp>
      <p:sp>
        <p:nvSpPr>
          <p:cNvPr id="14" name="Rectangle 13"/>
          <p:cNvSpPr/>
          <p:nvPr/>
        </p:nvSpPr>
        <p:spPr bwMode="gray">
          <a:xfrm>
            <a:off x="3688248" y="4547690"/>
            <a:ext cx="1135119" cy="276999"/>
          </a:xfrm>
          <a:prstGeom prst="rect">
            <a:avLst/>
          </a:prstGeom>
        </p:spPr>
        <p:txBody>
          <a:bodyPr wrap="none">
            <a:spAutoFit/>
          </a:bodyPr>
          <a:lstStyle/>
          <a:p>
            <a:r>
              <a:rPr lang="en-US" sz="1200" smtClean="0"/>
              <a:t>Mostly Append</a:t>
            </a:r>
            <a:endParaRPr lang="en-IN" sz="1200"/>
          </a:p>
        </p:txBody>
      </p:sp>
      <p:sp>
        <p:nvSpPr>
          <p:cNvPr id="15" name="Rectangle 14"/>
          <p:cNvSpPr/>
          <p:nvPr/>
        </p:nvSpPr>
        <p:spPr bwMode="gray">
          <a:xfrm>
            <a:off x="7219587" y="4588763"/>
            <a:ext cx="1010013" cy="461665"/>
          </a:xfrm>
          <a:prstGeom prst="rect">
            <a:avLst/>
          </a:prstGeom>
        </p:spPr>
        <p:txBody>
          <a:bodyPr wrap="square">
            <a:spAutoFit/>
          </a:bodyPr>
          <a:lstStyle/>
          <a:p>
            <a:r>
              <a:rPr lang="en-IN" sz="1200"/>
              <a:t>3. Keep Data Alive forever</a:t>
            </a:r>
          </a:p>
        </p:txBody>
      </p:sp>
      <p:sp>
        <p:nvSpPr>
          <p:cNvPr id="44" name="Rounded Rectangle 43"/>
          <p:cNvSpPr/>
          <p:nvPr/>
        </p:nvSpPr>
        <p:spPr bwMode="gray">
          <a:xfrm>
            <a:off x="2917372" y="5651208"/>
            <a:ext cx="3585028" cy="437244"/>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a:t>Instrumentation</a:t>
            </a:r>
          </a:p>
        </p:txBody>
      </p:sp>
      <p:sp>
        <p:nvSpPr>
          <p:cNvPr id="60" name="Freeform 4"/>
          <p:cNvSpPr>
            <a:spLocks/>
          </p:cNvSpPr>
          <p:nvPr/>
        </p:nvSpPr>
        <p:spPr bwMode="gray">
          <a:xfrm>
            <a:off x="3779842" y="2870791"/>
            <a:ext cx="104751" cy="1032027"/>
          </a:xfrm>
          <a:custGeom>
            <a:avLst/>
            <a:gdLst>
              <a:gd name="T0" fmla="+- 0 17635 17448"/>
              <a:gd name="T1" fmla="*/ T0 w 187"/>
              <a:gd name="T2" fmla="+- 0 -1871 -1996"/>
              <a:gd name="T3" fmla="*/ -1871 h 2971"/>
              <a:gd name="T4" fmla="+- 0 17510 17448"/>
              <a:gd name="T5" fmla="*/ T4 w 187"/>
              <a:gd name="T6" fmla="+- 0 -1871 -1996"/>
              <a:gd name="T7" fmla="*/ -1871 h 2971"/>
              <a:gd name="T8" fmla="+- 0 17510 17448"/>
              <a:gd name="T9" fmla="*/ T8 w 187"/>
              <a:gd name="T10" fmla="+- 0 975 -1996"/>
              <a:gd name="T11" fmla="*/ 975 h 2971"/>
              <a:gd name="T12" fmla="+- 0 17635 17448"/>
              <a:gd name="T13" fmla="*/ T12 w 187"/>
              <a:gd name="T14" fmla="+- 0 975 -1996"/>
              <a:gd name="T15" fmla="*/ 975 h 2971"/>
              <a:gd name="T16" fmla="+- 0 17635 17448"/>
              <a:gd name="T17" fmla="*/ T16 w 187"/>
              <a:gd name="T18" fmla="+- 0 -1871 -1996"/>
              <a:gd name="T19" fmla="*/ -1871 h 2971"/>
            </a:gdLst>
            <a:ahLst/>
            <a:cxnLst>
              <a:cxn ang="0">
                <a:pos x="T1" y="T3"/>
              </a:cxn>
              <a:cxn ang="0">
                <a:pos x="T5" y="T7"/>
              </a:cxn>
              <a:cxn ang="0">
                <a:pos x="T9" y="T11"/>
              </a:cxn>
              <a:cxn ang="0">
                <a:pos x="T13" y="T15"/>
              </a:cxn>
              <a:cxn ang="0">
                <a:pos x="T17" y="T19"/>
              </a:cxn>
            </a:cxnLst>
            <a:rect l="0" t="0" r="r" b="b"/>
            <a:pathLst>
              <a:path w="187" h="2971">
                <a:moveTo>
                  <a:pt x="187" y="125"/>
                </a:moveTo>
                <a:lnTo>
                  <a:pt x="62" y="125"/>
                </a:lnTo>
                <a:lnTo>
                  <a:pt x="62" y="2971"/>
                </a:lnTo>
                <a:lnTo>
                  <a:pt x="187" y="2971"/>
                </a:lnTo>
                <a:lnTo>
                  <a:pt x="187" y="125"/>
                </a:lnTo>
              </a:path>
            </a:pathLst>
          </a:custGeom>
          <a:solidFill>
            <a:schemeClr val="tx1"/>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61" name="Freeform 5"/>
          <p:cNvSpPr>
            <a:spLocks/>
          </p:cNvSpPr>
          <p:nvPr/>
        </p:nvSpPr>
        <p:spPr bwMode="gray">
          <a:xfrm>
            <a:off x="3779842" y="2865935"/>
            <a:ext cx="104751" cy="1064496"/>
          </a:xfrm>
          <a:custGeom>
            <a:avLst/>
            <a:gdLst>
              <a:gd name="T0" fmla="+- 0 17573 17448"/>
              <a:gd name="T1" fmla="*/ T0 w 187"/>
              <a:gd name="T2" fmla="+- 0 -1996 -1996"/>
              <a:gd name="T3" fmla="*/ -1996 h 2971"/>
              <a:gd name="T4" fmla="+- 0 17448 17448"/>
              <a:gd name="T5" fmla="*/ T4 w 187"/>
              <a:gd name="T6" fmla="+- 0 -1871 -1996"/>
              <a:gd name="T7" fmla="*/ -1871 h 2971"/>
              <a:gd name="T8" fmla="+- 0 17698 17448"/>
              <a:gd name="T9" fmla="*/ T8 w 187"/>
              <a:gd name="T10" fmla="+- 0 -1871 -1996"/>
              <a:gd name="T11" fmla="*/ -1871 h 2971"/>
              <a:gd name="T12" fmla="+- 0 17573 17448"/>
              <a:gd name="T13" fmla="*/ T12 w 187"/>
              <a:gd name="T14" fmla="+- 0 -1996 -1996"/>
              <a:gd name="T15" fmla="*/ -1996 h 2971"/>
            </a:gdLst>
            <a:ahLst/>
            <a:cxnLst>
              <a:cxn ang="0">
                <a:pos x="T1" y="T3"/>
              </a:cxn>
              <a:cxn ang="0">
                <a:pos x="T5" y="T7"/>
              </a:cxn>
              <a:cxn ang="0">
                <a:pos x="T9" y="T11"/>
              </a:cxn>
              <a:cxn ang="0">
                <a:pos x="T13" y="T15"/>
              </a:cxn>
            </a:cxnLst>
            <a:rect l="0" t="0" r="r" b="b"/>
            <a:pathLst>
              <a:path w="187" h="2971">
                <a:moveTo>
                  <a:pt x="125" y="0"/>
                </a:moveTo>
                <a:lnTo>
                  <a:pt x="0" y="125"/>
                </a:lnTo>
                <a:lnTo>
                  <a:pt x="250" y="125"/>
                </a:lnTo>
                <a:lnTo>
                  <a:pt x="125" y="0"/>
                </a:lnTo>
              </a:path>
            </a:pathLst>
          </a:cu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endParaRPr lang="en-IN"/>
          </a:p>
        </p:txBody>
      </p:sp>
      <p:grpSp>
        <p:nvGrpSpPr>
          <p:cNvPr id="62" name="Group 3"/>
          <p:cNvGrpSpPr>
            <a:grpSpLocks/>
          </p:cNvGrpSpPr>
          <p:nvPr/>
        </p:nvGrpSpPr>
        <p:grpSpPr bwMode="gray">
          <a:xfrm>
            <a:off x="5190262" y="4394508"/>
            <a:ext cx="104751" cy="640049"/>
            <a:chOff x="17448" y="-2036"/>
            <a:chExt cx="187" cy="3466"/>
          </a:xfrm>
        </p:grpSpPr>
        <p:sp>
          <p:nvSpPr>
            <p:cNvPr id="65" name="Freeform 4"/>
            <p:cNvSpPr>
              <a:spLocks/>
            </p:cNvSpPr>
            <p:nvPr/>
          </p:nvSpPr>
          <p:spPr bwMode="gray">
            <a:xfrm>
              <a:off x="17448" y="-1996"/>
              <a:ext cx="187" cy="2971"/>
            </a:xfrm>
            <a:custGeom>
              <a:avLst/>
              <a:gdLst>
                <a:gd name="T0" fmla="+- 0 17635 17448"/>
                <a:gd name="T1" fmla="*/ T0 w 187"/>
                <a:gd name="T2" fmla="+- 0 -1871 -1996"/>
                <a:gd name="T3" fmla="*/ -1871 h 2971"/>
                <a:gd name="T4" fmla="+- 0 17510 17448"/>
                <a:gd name="T5" fmla="*/ T4 w 187"/>
                <a:gd name="T6" fmla="+- 0 -1871 -1996"/>
                <a:gd name="T7" fmla="*/ -1871 h 2971"/>
                <a:gd name="T8" fmla="+- 0 17510 17448"/>
                <a:gd name="T9" fmla="*/ T8 w 187"/>
                <a:gd name="T10" fmla="+- 0 975 -1996"/>
                <a:gd name="T11" fmla="*/ 975 h 2971"/>
                <a:gd name="T12" fmla="+- 0 17635 17448"/>
                <a:gd name="T13" fmla="*/ T12 w 187"/>
                <a:gd name="T14" fmla="+- 0 975 -1996"/>
                <a:gd name="T15" fmla="*/ 975 h 2971"/>
                <a:gd name="T16" fmla="+- 0 17635 17448"/>
                <a:gd name="T17" fmla="*/ T16 w 187"/>
                <a:gd name="T18" fmla="+- 0 -1871 -1996"/>
                <a:gd name="T19" fmla="*/ -1871 h 2971"/>
              </a:gdLst>
              <a:ahLst/>
              <a:cxnLst>
                <a:cxn ang="0">
                  <a:pos x="T1" y="T3"/>
                </a:cxn>
                <a:cxn ang="0">
                  <a:pos x="T5" y="T7"/>
                </a:cxn>
                <a:cxn ang="0">
                  <a:pos x="T9" y="T11"/>
                </a:cxn>
                <a:cxn ang="0">
                  <a:pos x="T13" y="T15"/>
                </a:cxn>
                <a:cxn ang="0">
                  <a:pos x="T17" y="T19"/>
                </a:cxn>
              </a:cxnLst>
              <a:rect l="0" t="0" r="r" b="b"/>
              <a:pathLst>
                <a:path w="187" h="2971">
                  <a:moveTo>
                    <a:pt x="187" y="125"/>
                  </a:moveTo>
                  <a:lnTo>
                    <a:pt x="62" y="125"/>
                  </a:lnTo>
                  <a:lnTo>
                    <a:pt x="62" y="2971"/>
                  </a:lnTo>
                  <a:lnTo>
                    <a:pt x="187" y="2971"/>
                  </a:lnTo>
                  <a:lnTo>
                    <a:pt x="187" y="125"/>
                  </a:lnTo>
                </a:path>
              </a:pathLst>
            </a:custGeom>
            <a:solidFill>
              <a:schemeClr val="tx1"/>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66" name="Freeform 5"/>
            <p:cNvSpPr>
              <a:spLocks/>
            </p:cNvSpPr>
            <p:nvPr/>
          </p:nvSpPr>
          <p:spPr bwMode="gray">
            <a:xfrm>
              <a:off x="17448" y="-2036"/>
              <a:ext cx="187" cy="3466"/>
            </a:xfrm>
            <a:custGeom>
              <a:avLst/>
              <a:gdLst>
                <a:gd name="T0" fmla="+- 0 17573 17448"/>
                <a:gd name="T1" fmla="*/ T0 w 187"/>
                <a:gd name="T2" fmla="+- 0 -1996 -1996"/>
                <a:gd name="T3" fmla="*/ -1996 h 2971"/>
                <a:gd name="T4" fmla="+- 0 17448 17448"/>
                <a:gd name="T5" fmla="*/ T4 w 187"/>
                <a:gd name="T6" fmla="+- 0 -1871 -1996"/>
                <a:gd name="T7" fmla="*/ -1871 h 2971"/>
                <a:gd name="T8" fmla="+- 0 17698 17448"/>
                <a:gd name="T9" fmla="*/ T8 w 187"/>
                <a:gd name="T10" fmla="+- 0 -1871 -1996"/>
                <a:gd name="T11" fmla="*/ -1871 h 2971"/>
                <a:gd name="T12" fmla="+- 0 17573 17448"/>
                <a:gd name="T13" fmla="*/ T12 w 187"/>
                <a:gd name="T14" fmla="+- 0 -1996 -1996"/>
                <a:gd name="T15" fmla="*/ -1996 h 2971"/>
              </a:gdLst>
              <a:ahLst/>
              <a:cxnLst>
                <a:cxn ang="0">
                  <a:pos x="T1" y="T3"/>
                </a:cxn>
                <a:cxn ang="0">
                  <a:pos x="T5" y="T7"/>
                </a:cxn>
                <a:cxn ang="0">
                  <a:pos x="T9" y="T11"/>
                </a:cxn>
                <a:cxn ang="0">
                  <a:pos x="T13" y="T15"/>
                </a:cxn>
              </a:cxnLst>
              <a:rect l="0" t="0" r="r" b="b"/>
              <a:pathLst>
                <a:path w="187" h="2971">
                  <a:moveTo>
                    <a:pt x="125" y="0"/>
                  </a:moveTo>
                  <a:lnTo>
                    <a:pt x="0" y="125"/>
                  </a:lnTo>
                  <a:lnTo>
                    <a:pt x="250" y="125"/>
                  </a:lnTo>
                  <a:lnTo>
                    <a:pt x="125" y="0"/>
                  </a:lnTo>
                </a:path>
              </a:pathLst>
            </a:custGeom>
            <a:solidFill>
              <a:schemeClr val="tx1"/>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IN"/>
            </a:p>
          </p:txBody>
        </p:sp>
      </p:grpSp>
      <p:grpSp>
        <p:nvGrpSpPr>
          <p:cNvPr id="68" name="Group 3"/>
          <p:cNvGrpSpPr>
            <a:grpSpLocks/>
          </p:cNvGrpSpPr>
          <p:nvPr/>
        </p:nvGrpSpPr>
        <p:grpSpPr bwMode="gray">
          <a:xfrm>
            <a:off x="7027395" y="2424219"/>
            <a:ext cx="106991" cy="1554480"/>
            <a:chOff x="17444" y="-1996"/>
            <a:chExt cx="191" cy="2971"/>
          </a:xfrm>
        </p:grpSpPr>
        <p:sp>
          <p:nvSpPr>
            <p:cNvPr id="69" name="Freeform 4"/>
            <p:cNvSpPr>
              <a:spLocks/>
            </p:cNvSpPr>
            <p:nvPr/>
          </p:nvSpPr>
          <p:spPr bwMode="gray">
            <a:xfrm>
              <a:off x="17448" y="-1996"/>
              <a:ext cx="187" cy="2971"/>
            </a:xfrm>
            <a:custGeom>
              <a:avLst/>
              <a:gdLst>
                <a:gd name="T0" fmla="+- 0 17635 17448"/>
                <a:gd name="T1" fmla="*/ T0 w 187"/>
                <a:gd name="T2" fmla="+- 0 -1871 -1996"/>
                <a:gd name="T3" fmla="*/ -1871 h 2971"/>
                <a:gd name="T4" fmla="+- 0 17510 17448"/>
                <a:gd name="T5" fmla="*/ T4 w 187"/>
                <a:gd name="T6" fmla="+- 0 -1871 -1996"/>
                <a:gd name="T7" fmla="*/ -1871 h 2971"/>
                <a:gd name="T8" fmla="+- 0 17510 17448"/>
                <a:gd name="T9" fmla="*/ T8 w 187"/>
                <a:gd name="T10" fmla="+- 0 975 -1996"/>
                <a:gd name="T11" fmla="*/ 975 h 2971"/>
                <a:gd name="T12" fmla="+- 0 17635 17448"/>
                <a:gd name="T13" fmla="*/ T12 w 187"/>
                <a:gd name="T14" fmla="+- 0 975 -1996"/>
                <a:gd name="T15" fmla="*/ 975 h 2971"/>
                <a:gd name="T16" fmla="+- 0 17635 17448"/>
                <a:gd name="T17" fmla="*/ T16 w 187"/>
                <a:gd name="T18" fmla="+- 0 -1871 -1996"/>
                <a:gd name="T19" fmla="*/ -1871 h 2971"/>
              </a:gdLst>
              <a:ahLst/>
              <a:cxnLst>
                <a:cxn ang="0">
                  <a:pos x="T1" y="T3"/>
                </a:cxn>
                <a:cxn ang="0">
                  <a:pos x="T5" y="T7"/>
                </a:cxn>
                <a:cxn ang="0">
                  <a:pos x="T9" y="T11"/>
                </a:cxn>
                <a:cxn ang="0">
                  <a:pos x="T13" y="T15"/>
                </a:cxn>
                <a:cxn ang="0">
                  <a:pos x="T17" y="T19"/>
                </a:cxn>
              </a:cxnLst>
              <a:rect l="0" t="0" r="r" b="b"/>
              <a:pathLst>
                <a:path w="187" h="2971">
                  <a:moveTo>
                    <a:pt x="187" y="125"/>
                  </a:moveTo>
                  <a:lnTo>
                    <a:pt x="62" y="125"/>
                  </a:lnTo>
                  <a:lnTo>
                    <a:pt x="62" y="2971"/>
                  </a:lnTo>
                  <a:lnTo>
                    <a:pt x="187" y="2971"/>
                  </a:lnTo>
                  <a:lnTo>
                    <a:pt x="187" y="125"/>
                  </a:lnTo>
                </a:path>
              </a:pathLst>
            </a:custGeom>
            <a:solidFill>
              <a:schemeClr val="tx1"/>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70" name="Freeform 5"/>
            <p:cNvSpPr>
              <a:spLocks/>
            </p:cNvSpPr>
            <p:nvPr/>
          </p:nvSpPr>
          <p:spPr bwMode="gray">
            <a:xfrm>
              <a:off x="17444" y="-1996"/>
              <a:ext cx="187" cy="2971"/>
            </a:xfrm>
            <a:custGeom>
              <a:avLst/>
              <a:gdLst>
                <a:gd name="T0" fmla="+- 0 17573 17448"/>
                <a:gd name="T1" fmla="*/ T0 w 187"/>
                <a:gd name="T2" fmla="+- 0 -1996 -1996"/>
                <a:gd name="T3" fmla="*/ -1996 h 2971"/>
                <a:gd name="T4" fmla="+- 0 17448 17448"/>
                <a:gd name="T5" fmla="*/ T4 w 187"/>
                <a:gd name="T6" fmla="+- 0 -1871 -1996"/>
                <a:gd name="T7" fmla="*/ -1871 h 2971"/>
                <a:gd name="T8" fmla="+- 0 17698 17448"/>
                <a:gd name="T9" fmla="*/ T8 w 187"/>
                <a:gd name="T10" fmla="+- 0 -1871 -1996"/>
                <a:gd name="T11" fmla="*/ -1871 h 2971"/>
                <a:gd name="T12" fmla="+- 0 17573 17448"/>
                <a:gd name="T13" fmla="*/ T12 w 187"/>
                <a:gd name="T14" fmla="+- 0 -1996 -1996"/>
                <a:gd name="T15" fmla="*/ -1996 h 2971"/>
              </a:gdLst>
              <a:ahLst/>
              <a:cxnLst>
                <a:cxn ang="0">
                  <a:pos x="T1" y="T3"/>
                </a:cxn>
                <a:cxn ang="0">
                  <a:pos x="T5" y="T7"/>
                </a:cxn>
                <a:cxn ang="0">
                  <a:pos x="T9" y="T11"/>
                </a:cxn>
                <a:cxn ang="0">
                  <a:pos x="T13" y="T15"/>
                </a:cxn>
              </a:cxnLst>
              <a:rect l="0" t="0" r="r" b="b"/>
              <a:pathLst>
                <a:path w="187" h="2971">
                  <a:moveTo>
                    <a:pt x="125" y="0"/>
                  </a:moveTo>
                  <a:lnTo>
                    <a:pt x="0" y="125"/>
                  </a:lnTo>
                  <a:lnTo>
                    <a:pt x="250" y="125"/>
                  </a:lnTo>
                  <a:lnTo>
                    <a:pt x="125" y="0"/>
                  </a:lnTo>
                </a:path>
              </a:pathLst>
            </a:custGeom>
            <a:solidFill>
              <a:schemeClr val="tx1"/>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IN"/>
            </a:p>
          </p:txBody>
        </p:sp>
      </p:grpSp>
      <p:grpSp>
        <p:nvGrpSpPr>
          <p:cNvPr id="71" name="Group 3"/>
          <p:cNvGrpSpPr>
            <a:grpSpLocks/>
          </p:cNvGrpSpPr>
          <p:nvPr/>
        </p:nvGrpSpPr>
        <p:grpSpPr bwMode="gray">
          <a:xfrm rot="16200000">
            <a:off x="6584930" y="2231045"/>
            <a:ext cx="104751" cy="822960"/>
            <a:chOff x="17448" y="-1996"/>
            <a:chExt cx="187" cy="2971"/>
          </a:xfrm>
        </p:grpSpPr>
        <p:sp>
          <p:nvSpPr>
            <p:cNvPr id="72" name="Freeform 4"/>
            <p:cNvSpPr>
              <a:spLocks/>
            </p:cNvSpPr>
            <p:nvPr/>
          </p:nvSpPr>
          <p:spPr bwMode="gray">
            <a:xfrm>
              <a:off x="17448" y="-1996"/>
              <a:ext cx="187" cy="2971"/>
            </a:xfrm>
            <a:custGeom>
              <a:avLst/>
              <a:gdLst>
                <a:gd name="T0" fmla="+- 0 17635 17448"/>
                <a:gd name="T1" fmla="*/ T0 w 187"/>
                <a:gd name="T2" fmla="+- 0 -1871 -1996"/>
                <a:gd name="T3" fmla="*/ -1871 h 2971"/>
                <a:gd name="T4" fmla="+- 0 17510 17448"/>
                <a:gd name="T5" fmla="*/ T4 w 187"/>
                <a:gd name="T6" fmla="+- 0 -1871 -1996"/>
                <a:gd name="T7" fmla="*/ -1871 h 2971"/>
                <a:gd name="T8" fmla="+- 0 17510 17448"/>
                <a:gd name="T9" fmla="*/ T8 w 187"/>
                <a:gd name="T10" fmla="+- 0 975 -1996"/>
                <a:gd name="T11" fmla="*/ 975 h 2971"/>
                <a:gd name="T12" fmla="+- 0 17635 17448"/>
                <a:gd name="T13" fmla="*/ T12 w 187"/>
                <a:gd name="T14" fmla="+- 0 975 -1996"/>
                <a:gd name="T15" fmla="*/ 975 h 2971"/>
                <a:gd name="T16" fmla="+- 0 17635 17448"/>
                <a:gd name="T17" fmla="*/ T16 w 187"/>
                <a:gd name="T18" fmla="+- 0 -1871 -1996"/>
                <a:gd name="T19" fmla="*/ -1871 h 2971"/>
              </a:gdLst>
              <a:ahLst/>
              <a:cxnLst>
                <a:cxn ang="0">
                  <a:pos x="T1" y="T3"/>
                </a:cxn>
                <a:cxn ang="0">
                  <a:pos x="T5" y="T7"/>
                </a:cxn>
                <a:cxn ang="0">
                  <a:pos x="T9" y="T11"/>
                </a:cxn>
                <a:cxn ang="0">
                  <a:pos x="T13" y="T15"/>
                </a:cxn>
                <a:cxn ang="0">
                  <a:pos x="T17" y="T19"/>
                </a:cxn>
              </a:cxnLst>
              <a:rect l="0" t="0" r="r" b="b"/>
              <a:pathLst>
                <a:path w="187" h="2971">
                  <a:moveTo>
                    <a:pt x="187" y="125"/>
                  </a:moveTo>
                  <a:lnTo>
                    <a:pt x="62" y="125"/>
                  </a:lnTo>
                  <a:lnTo>
                    <a:pt x="62" y="2971"/>
                  </a:lnTo>
                  <a:lnTo>
                    <a:pt x="187" y="2971"/>
                  </a:lnTo>
                  <a:lnTo>
                    <a:pt x="187" y="125"/>
                  </a:lnTo>
                </a:path>
              </a:pathLst>
            </a:custGeom>
            <a:solidFill>
              <a:schemeClr val="tx1"/>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73" name="Freeform 5"/>
            <p:cNvSpPr>
              <a:spLocks/>
            </p:cNvSpPr>
            <p:nvPr/>
          </p:nvSpPr>
          <p:spPr bwMode="gray">
            <a:xfrm>
              <a:off x="17448" y="-1996"/>
              <a:ext cx="187" cy="2971"/>
            </a:xfrm>
            <a:custGeom>
              <a:avLst/>
              <a:gdLst>
                <a:gd name="T0" fmla="+- 0 17573 17448"/>
                <a:gd name="T1" fmla="*/ T0 w 187"/>
                <a:gd name="T2" fmla="+- 0 -1996 -1996"/>
                <a:gd name="T3" fmla="*/ -1996 h 2971"/>
                <a:gd name="T4" fmla="+- 0 17448 17448"/>
                <a:gd name="T5" fmla="*/ T4 w 187"/>
                <a:gd name="T6" fmla="+- 0 -1871 -1996"/>
                <a:gd name="T7" fmla="*/ -1871 h 2971"/>
                <a:gd name="T8" fmla="+- 0 17698 17448"/>
                <a:gd name="T9" fmla="*/ T8 w 187"/>
                <a:gd name="T10" fmla="+- 0 -1871 -1996"/>
                <a:gd name="T11" fmla="*/ -1871 h 2971"/>
                <a:gd name="T12" fmla="+- 0 17573 17448"/>
                <a:gd name="T13" fmla="*/ T12 w 187"/>
                <a:gd name="T14" fmla="+- 0 -1996 -1996"/>
                <a:gd name="T15" fmla="*/ -1996 h 2971"/>
              </a:gdLst>
              <a:ahLst/>
              <a:cxnLst>
                <a:cxn ang="0">
                  <a:pos x="T1" y="T3"/>
                </a:cxn>
                <a:cxn ang="0">
                  <a:pos x="T5" y="T7"/>
                </a:cxn>
                <a:cxn ang="0">
                  <a:pos x="T9" y="T11"/>
                </a:cxn>
                <a:cxn ang="0">
                  <a:pos x="T13" y="T15"/>
                </a:cxn>
              </a:cxnLst>
              <a:rect l="0" t="0" r="r" b="b"/>
              <a:pathLst>
                <a:path w="187" h="2971">
                  <a:moveTo>
                    <a:pt x="125" y="0"/>
                  </a:moveTo>
                  <a:lnTo>
                    <a:pt x="0" y="125"/>
                  </a:lnTo>
                  <a:lnTo>
                    <a:pt x="250" y="125"/>
                  </a:lnTo>
                  <a:lnTo>
                    <a:pt x="125" y="0"/>
                  </a:lnTo>
                </a:path>
              </a:pathLst>
            </a:custGeom>
            <a:solidFill>
              <a:schemeClr val="tx1"/>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28775326"/>
      </p:ext>
    </p:extLst>
  </p:cSld>
  <p:clrMapOvr>
    <a:masterClrMapping/>
  </p:clrMapOvr>
  <p:transition>
    <p:fade/>
  </p:transition>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Writing The Final Output</a:t>
            </a:r>
            <a:endParaRPr lang="en-IN"/>
          </a:p>
        </p:txBody>
      </p:sp>
      <p:sp>
        <p:nvSpPr>
          <p:cNvPr id="3" name="Rounded Rectangle 2"/>
          <p:cNvSpPr/>
          <p:nvPr/>
        </p:nvSpPr>
        <p:spPr bwMode="gray">
          <a:xfrm>
            <a:off x="554038" y="2200939"/>
            <a:ext cx="8154027" cy="3115340"/>
          </a:xfrm>
          <a:prstGeom prst="roundRect">
            <a:avLst>
              <a:gd name="adj" fmla="val 7452"/>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prstClr val="white">
                    <a:lumMod val="75000"/>
                  </a:prstClr>
                </a:solidFill>
              </a:rPr>
              <a:t>public class SumReducer extends MapReduceBase implements</a:t>
            </a:r>
          </a:p>
          <a:p>
            <a:pPr marL="233363"/>
            <a:r>
              <a:rPr lang="en-IN" sz="1100">
                <a:solidFill>
                  <a:prstClr val="white">
                    <a:lumMod val="75000"/>
                  </a:prstClr>
                </a:solidFill>
              </a:rPr>
              <a:t>Reducer&lt;Text, IntWritable, Text, IntWritable&gt; {</a:t>
            </a:r>
          </a:p>
          <a:p>
            <a:pPr marL="233363"/>
            <a:r>
              <a:rPr lang="en-IN" sz="1100">
                <a:solidFill>
                  <a:prstClr val="white">
                    <a:lumMod val="75000"/>
                  </a:prstClr>
                </a:solidFill>
              </a:rPr>
              <a:t>public void reduce(Text key, Iterator&lt;IntWritable&gt; values,</a:t>
            </a:r>
          </a:p>
          <a:p>
            <a:pPr marL="233363"/>
            <a:r>
              <a:rPr lang="en-IN" sz="1100">
                <a:solidFill>
                  <a:prstClr val="white">
                    <a:lumMod val="75000"/>
                  </a:prstClr>
                </a:solidFill>
              </a:rPr>
              <a:t>OutputCollector&lt;Text, IntWritable&gt; output, Reporter reporter)</a:t>
            </a:r>
          </a:p>
          <a:p>
            <a:pPr marL="233363"/>
            <a:r>
              <a:rPr lang="en-IN" sz="1100">
                <a:solidFill>
                  <a:prstClr val="white">
                    <a:lumMod val="75000"/>
                  </a:prstClr>
                </a:solidFill>
              </a:rPr>
              <a:t>throws IOException {</a:t>
            </a:r>
          </a:p>
          <a:p>
            <a:pPr marL="233363"/>
            <a:r>
              <a:rPr lang="en-IN" sz="1100">
                <a:solidFill>
                  <a:prstClr val="white">
                    <a:lumMod val="75000"/>
                  </a:prstClr>
                </a:solidFill>
              </a:rPr>
              <a:t>int wordCount = 0;</a:t>
            </a:r>
          </a:p>
          <a:p>
            <a:pPr marL="233363"/>
            <a:r>
              <a:rPr lang="en-IN" sz="1100">
                <a:solidFill>
                  <a:prstClr val="white">
                    <a:lumMod val="75000"/>
                  </a:prstClr>
                </a:solidFill>
              </a:rPr>
              <a:t>while (values.hasNext()) {</a:t>
            </a:r>
          </a:p>
          <a:p>
            <a:pPr marL="233363"/>
            <a:r>
              <a:rPr lang="en-IN" sz="1100">
                <a:solidFill>
                  <a:prstClr val="white">
                    <a:lumMod val="75000"/>
                  </a:prstClr>
                </a:solidFill>
              </a:rPr>
              <a:t>IntWritable value = values.next();</a:t>
            </a:r>
          </a:p>
          <a:p>
            <a:pPr marL="233363"/>
            <a:r>
              <a:rPr lang="en-IN" sz="1100">
                <a:solidFill>
                  <a:prstClr val="white">
                    <a:lumMod val="75000"/>
                  </a:prstClr>
                </a:solidFill>
              </a:rPr>
              <a:t>wordCount += value.get();</a:t>
            </a:r>
          </a:p>
          <a:p>
            <a:pPr marL="233363"/>
            <a:r>
              <a:rPr lang="en-IN" sz="1100">
                <a:solidFill>
                  <a:prstClr val="white">
                    <a:lumMod val="75000"/>
                  </a:prstClr>
                </a:solidFill>
              </a:rPr>
              <a:t>}</a:t>
            </a:r>
          </a:p>
          <a:p>
            <a:pPr marL="233363"/>
            <a:r>
              <a:rPr lang="en-IN" sz="1100">
                <a:solidFill>
                  <a:srgbClr val="666666"/>
                </a:solidFill>
              </a:rPr>
              <a:t>output.collect(key, new IntWritable(wordCount));</a:t>
            </a:r>
          </a:p>
          <a:p>
            <a:pPr marL="233363"/>
            <a:r>
              <a:rPr lang="en-IN" sz="1100">
                <a:solidFill>
                  <a:prstClr val="white">
                    <a:lumMod val="75000"/>
                  </a:prstClr>
                </a:solidFill>
              </a:rPr>
              <a:t>}</a:t>
            </a:r>
          </a:p>
          <a:p>
            <a:pPr marL="233363"/>
            <a:r>
              <a:rPr lang="en-IN" sz="1100">
                <a:solidFill>
                  <a:prstClr val="white">
                    <a:lumMod val="75000"/>
                  </a:prstClr>
                </a:solidFill>
              </a:rPr>
              <a:t>}</a:t>
            </a:r>
          </a:p>
        </p:txBody>
      </p:sp>
      <p:sp>
        <p:nvSpPr>
          <p:cNvPr id="4" name="Rounded Rectangle 3"/>
          <p:cNvSpPr/>
          <p:nvPr/>
        </p:nvSpPr>
        <p:spPr bwMode="gray">
          <a:xfrm>
            <a:off x="1350333" y="4572312"/>
            <a:ext cx="6847370" cy="749141"/>
          </a:xfrm>
          <a:prstGeom prst="roundRect">
            <a:avLst/>
          </a:prstGeom>
          <a:solidFill>
            <a:schemeClr val="bg1"/>
          </a:solidFill>
          <a:ln>
            <a:solidFill>
              <a:schemeClr val="bg1">
                <a:lumMod val="65000"/>
              </a:schemeClr>
            </a:solidFill>
          </a:ln>
        </p:spPr>
        <p:txBody>
          <a:bodyPr wrap="square" lIns="182880" tIns="91440" rIns="182880" bIns="91440">
            <a:spAutoFit/>
          </a:bodyPr>
          <a:lstStyle/>
          <a:p>
            <a:r>
              <a:rPr lang="en-IN" sz="1600">
                <a:solidFill>
                  <a:srgbClr val="666666"/>
                </a:solidFill>
              </a:rPr>
              <a:t>Finally, we write the output (key, value) pair using </a:t>
            </a:r>
            <a:r>
              <a:rPr lang="en-IN" sz="1600" smtClean="0">
                <a:solidFill>
                  <a:srgbClr val="666666"/>
                </a:solidFill>
              </a:rPr>
              <a:t>the collect </a:t>
            </a:r>
            <a:r>
              <a:rPr lang="en-IN" sz="1600">
                <a:solidFill>
                  <a:srgbClr val="666666"/>
                </a:solidFill>
              </a:rPr>
              <a:t>method of our OutputCollector object.</a:t>
            </a:r>
          </a:p>
        </p:txBody>
      </p:sp>
    </p:spTree>
    <p:extLst>
      <p:ext uri="{BB962C8B-B14F-4D97-AF65-F5344CB8AC3E}">
        <p14:creationId xmlns:p14="http://schemas.microsoft.com/office/powerpoint/2010/main" val="2405153499"/>
      </p:ext>
    </p:extLst>
  </p:cSld>
  <p:clrMapOvr>
    <a:masterClrMapping/>
  </p:clrMapOvr>
  <p:transition>
    <p:fade/>
  </p:transition>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Reprise: The Reduce Method</a:t>
            </a:r>
            <a:endParaRPr lang="en-IN"/>
          </a:p>
        </p:txBody>
      </p:sp>
      <p:sp>
        <p:nvSpPr>
          <p:cNvPr id="3" name="Rounded Rectangle 2"/>
          <p:cNvSpPr/>
          <p:nvPr/>
        </p:nvSpPr>
        <p:spPr bwMode="gray">
          <a:xfrm>
            <a:off x="554038" y="2200939"/>
            <a:ext cx="8154027" cy="3115340"/>
          </a:xfrm>
          <a:prstGeom prst="roundRect">
            <a:avLst>
              <a:gd name="adj" fmla="val 8135"/>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srgbClr val="666666"/>
                </a:solidFill>
              </a:rPr>
              <a:t>public class SumReducer extends MapReduceBase implements</a:t>
            </a:r>
          </a:p>
          <a:p>
            <a:pPr marL="233363"/>
            <a:r>
              <a:rPr lang="en-IN" sz="1100">
                <a:solidFill>
                  <a:srgbClr val="666666"/>
                </a:solidFill>
              </a:rPr>
              <a:t>Reducer&lt;Text, IntWritable, Text, IntWritable&gt; {</a:t>
            </a:r>
          </a:p>
          <a:p>
            <a:pPr marL="233363"/>
            <a:r>
              <a:rPr lang="en-IN" sz="1100">
                <a:solidFill>
                  <a:srgbClr val="666666"/>
                </a:solidFill>
              </a:rPr>
              <a:t>public void reduce(Text key, Iterator&lt;IntWritable&gt; values,</a:t>
            </a:r>
          </a:p>
          <a:p>
            <a:pPr marL="233363"/>
            <a:r>
              <a:rPr lang="en-IN" sz="1100">
                <a:solidFill>
                  <a:srgbClr val="666666"/>
                </a:solidFill>
              </a:rPr>
              <a:t>OutputCollector&lt;Text, IntWritable&gt; output, Reporter reporter)</a:t>
            </a:r>
          </a:p>
          <a:p>
            <a:pPr marL="233363"/>
            <a:r>
              <a:rPr lang="en-IN" sz="1100">
                <a:solidFill>
                  <a:srgbClr val="666666"/>
                </a:solidFill>
              </a:rPr>
              <a:t>throws IOException {</a:t>
            </a:r>
          </a:p>
          <a:p>
            <a:pPr marL="233363"/>
            <a:r>
              <a:rPr lang="en-IN" sz="1100">
                <a:solidFill>
                  <a:srgbClr val="666666"/>
                </a:solidFill>
              </a:rPr>
              <a:t>int wordCount = 0;</a:t>
            </a:r>
          </a:p>
          <a:p>
            <a:pPr marL="233363"/>
            <a:r>
              <a:rPr lang="en-IN" sz="1100">
                <a:solidFill>
                  <a:srgbClr val="666666"/>
                </a:solidFill>
              </a:rPr>
              <a:t>while (values.hasNext()) {</a:t>
            </a:r>
          </a:p>
          <a:p>
            <a:pPr marL="233363"/>
            <a:r>
              <a:rPr lang="en-IN" sz="1100">
                <a:solidFill>
                  <a:srgbClr val="666666"/>
                </a:solidFill>
              </a:rPr>
              <a:t>IntWritable value = values.next();</a:t>
            </a:r>
          </a:p>
          <a:p>
            <a:pPr marL="233363"/>
            <a:r>
              <a:rPr lang="en-IN" sz="1100">
                <a:solidFill>
                  <a:srgbClr val="666666"/>
                </a:solidFill>
              </a:rPr>
              <a:t>wordCount += value.get();</a:t>
            </a:r>
          </a:p>
          <a:p>
            <a:pPr marL="233363"/>
            <a:r>
              <a:rPr lang="en-IN" sz="1100">
                <a:solidFill>
                  <a:srgbClr val="666666"/>
                </a:solidFill>
              </a:rPr>
              <a:t>}</a:t>
            </a:r>
          </a:p>
          <a:p>
            <a:pPr marL="233363"/>
            <a:r>
              <a:rPr lang="en-IN" sz="1100">
                <a:solidFill>
                  <a:srgbClr val="666666"/>
                </a:solidFill>
              </a:rPr>
              <a:t>output.collect(key, new IntWritable(wordCount));</a:t>
            </a:r>
          </a:p>
          <a:p>
            <a:pPr marL="233363"/>
            <a:r>
              <a:rPr lang="en-IN" sz="1100">
                <a:solidFill>
                  <a:srgbClr val="666666"/>
                </a:solidFill>
              </a:rPr>
              <a:t>}</a:t>
            </a:r>
          </a:p>
          <a:p>
            <a:pPr marL="233363"/>
            <a:r>
              <a:rPr lang="en-IN" sz="1100">
                <a:solidFill>
                  <a:srgbClr val="666666"/>
                </a:solidFill>
              </a:rPr>
              <a:t>}</a:t>
            </a:r>
          </a:p>
        </p:txBody>
      </p:sp>
    </p:spTree>
    <p:extLst>
      <p:ext uri="{BB962C8B-B14F-4D97-AF65-F5344CB8AC3E}">
        <p14:creationId xmlns:p14="http://schemas.microsoft.com/office/powerpoint/2010/main" val="73039943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normAutofit/>
          </a:bodyPr>
          <a:lstStyle/>
          <a:p>
            <a:r>
              <a:rPr lang="en-IN" dirty="0" smtClean="0"/>
              <a:t>Distributed Environment Requirements</a:t>
            </a:r>
            <a:endParaRPr lang="en-IN" dirty="0"/>
          </a:p>
        </p:txBody>
      </p:sp>
      <p:sp>
        <p:nvSpPr>
          <p:cNvPr id="3" name="Content Placeholder 2"/>
          <p:cNvSpPr>
            <a:spLocks noGrp="1"/>
          </p:cNvSpPr>
          <p:nvPr>
            <p:ph type="body" sz="quarter" idx="10"/>
          </p:nvPr>
        </p:nvSpPr>
        <p:spPr bwMode="gray">
          <a:xfrm>
            <a:off x="563530" y="1970560"/>
            <a:ext cx="8275670" cy="3370153"/>
          </a:xfrm>
        </p:spPr>
        <p:txBody>
          <a:bodyPr wrap="square" lIns="0" tIns="0" rIns="0" bIns="0">
            <a:spAutoFit/>
          </a:bodyPr>
          <a:lstStyle/>
          <a:p>
            <a:pPr marL="233363" indent="-233363">
              <a:lnSpc>
                <a:spcPct val="100000"/>
              </a:lnSpc>
              <a:spcBef>
                <a:spcPts val="1200"/>
              </a:spcBef>
            </a:pPr>
            <a:r>
              <a:rPr lang="en-IN" sz="2400" dirty="0" smtClean="0">
                <a:solidFill>
                  <a:schemeClr val="tx1"/>
                </a:solidFill>
              </a:rPr>
              <a:t>Partial Error Recovery: The </a:t>
            </a:r>
            <a:r>
              <a:rPr lang="en-IN" sz="2400" dirty="0">
                <a:solidFill>
                  <a:schemeClr val="tx1"/>
                </a:solidFill>
              </a:rPr>
              <a:t>system must support partial </a:t>
            </a:r>
            <a:r>
              <a:rPr lang="en-IN" sz="2400" dirty="0" smtClean="0">
                <a:solidFill>
                  <a:schemeClr val="tx1"/>
                </a:solidFill>
              </a:rPr>
              <a:t>failure</a:t>
            </a:r>
            <a:endParaRPr lang="en-IN" sz="2400" dirty="0">
              <a:solidFill>
                <a:schemeClr val="tx1"/>
              </a:solidFill>
            </a:endParaRPr>
          </a:p>
          <a:p>
            <a:pPr marL="457200" lvl="1" indent="-223838">
              <a:spcBef>
                <a:spcPts val="1200"/>
              </a:spcBef>
            </a:pPr>
            <a:r>
              <a:rPr lang="en-IN" sz="2000" dirty="0" smtClean="0"/>
              <a:t>Failure </a:t>
            </a:r>
            <a:r>
              <a:rPr lang="en-IN" sz="2000" dirty="0"/>
              <a:t>of a component should result in a graceful degradation </a:t>
            </a:r>
            <a:r>
              <a:rPr lang="en-IN" sz="2000" dirty="0" smtClean="0"/>
              <a:t>of application performance</a:t>
            </a:r>
          </a:p>
          <a:p>
            <a:pPr marL="627063" lvl="2" indent="-169863">
              <a:spcBef>
                <a:spcPts val="1200"/>
              </a:spcBef>
              <a:buFont typeface="Calibri" panose="020F0502020204030204" pitchFamily="34" charset="0"/>
              <a:buChar char="›"/>
            </a:pPr>
            <a:r>
              <a:rPr lang="en-IN" sz="1800" dirty="0" smtClean="0"/>
              <a:t>Not </a:t>
            </a:r>
            <a:r>
              <a:rPr lang="en-IN" sz="1800" dirty="0"/>
              <a:t>complete failure </a:t>
            </a:r>
            <a:r>
              <a:rPr lang="en-IN" sz="1800" dirty="0" smtClean="0"/>
              <a:t>of </a:t>
            </a:r>
            <a:r>
              <a:rPr lang="en-IN" sz="1800" dirty="0"/>
              <a:t>the entire </a:t>
            </a:r>
            <a:r>
              <a:rPr lang="en-IN" sz="1800" dirty="0" smtClean="0"/>
              <a:t>system</a:t>
            </a:r>
          </a:p>
          <a:p>
            <a:pPr marL="233363" indent="-233363">
              <a:lnSpc>
                <a:spcPct val="100000"/>
              </a:lnSpc>
              <a:spcBef>
                <a:spcPts val="1800"/>
              </a:spcBef>
            </a:pPr>
            <a:r>
              <a:rPr lang="en-IN" sz="2400" dirty="0" smtClean="0">
                <a:solidFill>
                  <a:schemeClr val="tx1"/>
                </a:solidFill>
              </a:rPr>
              <a:t>Data Recoverability: If </a:t>
            </a:r>
            <a:r>
              <a:rPr lang="en-IN" sz="2400" dirty="0">
                <a:solidFill>
                  <a:schemeClr val="tx1"/>
                </a:solidFill>
              </a:rPr>
              <a:t>a component of the system fails, its workload should </a:t>
            </a:r>
            <a:r>
              <a:rPr lang="en-IN" sz="2400" dirty="0" smtClean="0">
                <a:solidFill>
                  <a:schemeClr val="tx1"/>
                </a:solidFill>
              </a:rPr>
              <a:t>be assumed </a:t>
            </a:r>
            <a:r>
              <a:rPr lang="en-IN" sz="2400" dirty="0">
                <a:solidFill>
                  <a:schemeClr val="tx1"/>
                </a:solidFill>
              </a:rPr>
              <a:t>by still-functioning units in the </a:t>
            </a:r>
            <a:r>
              <a:rPr lang="en-IN" sz="2400" dirty="0" smtClean="0">
                <a:solidFill>
                  <a:schemeClr val="tx1"/>
                </a:solidFill>
              </a:rPr>
              <a:t>system</a:t>
            </a:r>
          </a:p>
          <a:p>
            <a:pPr marL="457200" lvl="1" indent="-223838">
              <a:spcBef>
                <a:spcPts val="1200"/>
              </a:spcBef>
            </a:pPr>
            <a:r>
              <a:rPr lang="en-IN" sz="2000" dirty="0" smtClean="0"/>
              <a:t>Failure </a:t>
            </a:r>
            <a:r>
              <a:rPr lang="en-IN" sz="2000" dirty="0"/>
              <a:t>should not result in the loss of any data</a:t>
            </a:r>
          </a:p>
        </p:txBody>
      </p:sp>
    </p:spTree>
    <p:extLst>
      <p:ext uri="{BB962C8B-B14F-4D97-AF65-F5344CB8AC3E}">
        <p14:creationId xmlns:p14="http://schemas.microsoft.com/office/powerpoint/2010/main" val="280209844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normAutofit/>
          </a:bodyPr>
          <a:lstStyle/>
          <a:p>
            <a:r>
              <a:rPr lang="en-IN" dirty="0"/>
              <a:t>Distributed Environment Requirements</a:t>
            </a:r>
          </a:p>
        </p:txBody>
      </p:sp>
      <p:sp>
        <p:nvSpPr>
          <p:cNvPr id="3" name="Content Placeholder 2"/>
          <p:cNvSpPr>
            <a:spLocks noGrp="1"/>
          </p:cNvSpPr>
          <p:nvPr>
            <p:ph type="body" sz="quarter" idx="10"/>
          </p:nvPr>
        </p:nvSpPr>
        <p:spPr bwMode="gray">
          <a:xfrm>
            <a:off x="563531" y="2406520"/>
            <a:ext cx="8158194" cy="1892826"/>
          </a:xfrm>
        </p:spPr>
        <p:txBody>
          <a:bodyPr wrap="square" lIns="0" tIns="0" rIns="0" bIns="0">
            <a:spAutoFit/>
          </a:bodyPr>
          <a:lstStyle/>
          <a:p>
            <a:pPr marL="233363" indent="-233363">
              <a:lnSpc>
                <a:spcPct val="100000"/>
              </a:lnSpc>
              <a:spcBef>
                <a:spcPts val="1200"/>
              </a:spcBef>
            </a:pPr>
            <a:r>
              <a:rPr lang="en-IN" sz="2000" dirty="0">
                <a:solidFill>
                  <a:schemeClr val="tx1"/>
                </a:solidFill>
              </a:rPr>
              <a:t>Component </a:t>
            </a:r>
            <a:r>
              <a:rPr lang="en-IN" sz="2000" dirty="0" smtClean="0">
                <a:solidFill>
                  <a:schemeClr val="tx1"/>
                </a:solidFill>
              </a:rPr>
              <a:t>Recovery: </a:t>
            </a:r>
            <a:r>
              <a:rPr lang="en-IN" sz="2000" dirty="0">
                <a:solidFill>
                  <a:schemeClr val="tx1"/>
                </a:solidFill>
              </a:rPr>
              <a:t>If a component of the system fails and then recovers, it </a:t>
            </a:r>
            <a:r>
              <a:rPr lang="en-IN" sz="2000" dirty="0" smtClean="0">
                <a:solidFill>
                  <a:schemeClr val="tx1"/>
                </a:solidFill>
              </a:rPr>
              <a:t>should be </a:t>
            </a:r>
            <a:r>
              <a:rPr lang="en-IN" sz="2000" dirty="0">
                <a:solidFill>
                  <a:schemeClr val="tx1"/>
                </a:solidFill>
              </a:rPr>
              <a:t>able to </a:t>
            </a:r>
            <a:r>
              <a:rPr lang="en-IN" sz="2000" dirty="0" smtClean="0">
                <a:solidFill>
                  <a:schemeClr val="tx1"/>
                </a:solidFill>
              </a:rPr>
              <a:t>re-join </a:t>
            </a:r>
            <a:r>
              <a:rPr lang="en-IN" sz="2000" dirty="0">
                <a:solidFill>
                  <a:schemeClr val="tx1"/>
                </a:solidFill>
              </a:rPr>
              <a:t>the </a:t>
            </a:r>
            <a:r>
              <a:rPr lang="en-IN" sz="2000" dirty="0" smtClean="0">
                <a:solidFill>
                  <a:schemeClr val="tx1"/>
                </a:solidFill>
              </a:rPr>
              <a:t>system</a:t>
            </a:r>
          </a:p>
          <a:p>
            <a:pPr marL="457200" lvl="1" indent="-223838">
              <a:spcBef>
                <a:spcPts val="1200"/>
              </a:spcBef>
            </a:pPr>
            <a:r>
              <a:rPr lang="en-IN" sz="1800" dirty="0" smtClean="0"/>
              <a:t>Without </a:t>
            </a:r>
            <a:r>
              <a:rPr lang="en-IN" sz="1800" dirty="0"/>
              <a:t>requiring a full restart of the entire </a:t>
            </a:r>
            <a:r>
              <a:rPr lang="en-IN" sz="1800" dirty="0" smtClean="0"/>
              <a:t>system</a:t>
            </a:r>
          </a:p>
          <a:p>
            <a:pPr marL="233363" indent="-233363">
              <a:lnSpc>
                <a:spcPct val="100000"/>
              </a:lnSpc>
              <a:spcBef>
                <a:spcPts val="1800"/>
              </a:spcBef>
            </a:pPr>
            <a:r>
              <a:rPr lang="en-IN" sz="2000" dirty="0" smtClean="0">
                <a:solidFill>
                  <a:schemeClr val="tx1"/>
                </a:solidFill>
              </a:rPr>
              <a:t>Consistency: </a:t>
            </a:r>
            <a:r>
              <a:rPr lang="en-IN" sz="2000" dirty="0">
                <a:solidFill>
                  <a:schemeClr val="tx1"/>
                </a:solidFill>
              </a:rPr>
              <a:t>Component failures during execution of a job should not </a:t>
            </a:r>
            <a:r>
              <a:rPr lang="en-IN" sz="2000" dirty="0" smtClean="0">
                <a:solidFill>
                  <a:schemeClr val="tx1"/>
                </a:solidFill>
              </a:rPr>
              <a:t>affect the </a:t>
            </a:r>
            <a:r>
              <a:rPr lang="en-IN" sz="2000" dirty="0">
                <a:solidFill>
                  <a:schemeClr val="tx1"/>
                </a:solidFill>
              </a:rPr>
              <a:t>outcome of the job</a:t>
            </a:r>
          </a:p>
        </p:txBody>
      </p:sp>
    </p:spTree>
    <p:extLst>
      <p:ext uri="{BB962C8B-B14F-4D97-AF65-F5344CB8AC3E}">
        <p14:creationId xmlns:p14="http://schemas.microsoft.com/office/powerpoint/2010/main" val="297826782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normAutofit/>
          </a:bodyPr>
          <a:lstStyle/>
          <a:p>
            <a:r>
              <a:rPr lang="en-IN" dirty="0"/>
              <a:t>Distributed Environment Requirements</a:t>
            </a:r>
          </a:p>
        </p:txBody>
      </p:sp>
      <p:sp>
        <p:nvSpPr>
          <p:cNvPr id="3" name="Content Placeholder 2"/>
          <p:cNvSpPr>
            <a:spLocks noGrp="1"/>
          </p:cNvSpPr>
          <p:nvPr>
            <p:ph type="body" sz="quarter" idx="10"/>
          </p:nvPr>
        </p:nvSpPr>
        <p:spPr bwMode="gray">
          <a:xfrm>
            <a:off x="566739" y="2321442"/>
            <a:ext cx="8272462" cy="1508105"/>
          </a:xfrm>
        </p:spPr>
        <p:txBody>
          <a:bodyPr wrap="square" lIns="0" tIns="0" rIns="0" bIns="0">
            <a:spAutoFit/>
          </a:bodyPr>
          <a:lstStyle/>
          <a:p>
            <a:pPr>
              <a:lnSpc>
                <a:spcPct val="100000"/>
              </a:lnSpc>
              <a:spcBef>
                <a:spcPts val="800"/>
              </a:spcBef>
            </a:pPr>
            <a:r>
              <a:rPr lang="en-IN" sz="2000" dirty="0" smtClean="0">
                <a:solidFill>
                  <a:schemeClr val="tx1"/>
                </a:solidFill>
              </a:rPr>
              <a:t>Scalability: Adding </a:t>
            </a:r>
            <a:r>
              <a:rPr lang="en-IN" sz="2000" dirty="0">
                <a:solidFill>
                  <a:schemeClr val="tx1"/>
                </a:solidFill>
              </a:rPr>
              <a:t>load to the system should result in a graceful decline </a:t>
            </a:r>
            <a:r>
              <a:rPr lang="en-IN" sz="2000" dirty="0" smtClean="0">
                <a:solidFill>
                  <a:schemeClr val="tx1"/>
                </a:solidFill>
              </a:rPr>
              <a:t>in performance </a:t>
            </a:r>
            <a:r>
              <a:rPr lang="en-IN" sz="2000" dirty="0">
                <a:solidFill>
                  <a:schemeClr val="tx1"/>
                </a:solidFill>
              </a:rPr>
              <a:t>of individual </a:t>
            </a:r>
            <a:r>
              <a:rPr lang="en-IN" sz="2000" dirty="0" smtClean="0">
                <a:solidFill>
                  <a:schemeClr val="tx1"/>
                </a:solidFill>
              </a:rPr>
              <a:t>jobs</a:t>
            </a:r>
          </a:p>
          <a:p>
            <a:pPr lvl="1">
              <a:spcBef>
                <a:spcPts val="600"/>
              </a:spcBef>
            </a:pPr>
            <a:r>
              <a:rPr lang="en-IN" sz="1800" dirty="0" smtClean="0"/>
              <a:t>Not </a:t>
            </a:r>
            <a:r>
              <a:rPr lang="en-IN" sz="1800" dirty="0"/>
              <a:t>failure of the system</a:t>
            </a:r>
          </a:p>
          <a:p>
            <a:pPr>
              <a:lnSpc>
                <a:spcPct val="100000"/>
              </a:lnSpc>
              <a:spcBef>
                <a:spcPts val="1800"/>
              </a:spcBef>
            </a:pPr>
            <a:r>
              <a:rPr lang="en-IN" sz="2000" dirty="0" smtClean="0">
                <a:solidFill>
                  <a:schemeClr val="tx1"/>
                </a:solidFill>
              </a:rPr>
              <a:t>Increasing </a:t>
            </a:r>
            <a:r>
              <a:rPr lang="en-IN" sz="2000" dirty="0">
                <a:solidFill>
                  <a:schemeClr val="tx1"/>
                </a:solidFill>
              </a:rPr>
              <a:t>resources should support a proportional increase </a:t>
            </a:r>
            <a:r>
              <a:rPr lang="en-IN" sz="2000" dirty="0" smtClean="0">
                <a:solidFill>
                  <a:schemeClr val="tx1"/>
                </a:solidFill>
              </a:rPr>
              <a:t>in load </a:t>
            </a:r>
            <a:r>
              <a:rPr lang="en-IN" sz="2000" dirty="0">
                <a:solidFill>
                  <a:schemeClr val="tx1"/>
                </a:solidFill>
              </a:rPr>
              <a:t>capacity</a:t>
            </a:r>
          </a:p>
        </p:txBody>
      </p:sp>
    </p:spTree>
    <p:extLst>
      <p:ext uri="{BB962C8B-B14F-4D97-AF65-F5344CB8AC3E}">
        <p14:creationId xmlns:p14="http://schemas.microsoft.com/office/powerpoint/2010/main" val="199779525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Hadoop</a:t>
            </a:r>
            <a:endParaRPr lang="en-IN" dirty="0"/>
          </a:p>
        </p:txBody>
      </p:sp>
      <p:sp>
        <p:nvSpPr>
          <p:cNvPr id="3" name="Content Placeholder 2"/>
          <p:cNvSpPr>
            <a:spLocks noGrp="1"/>
          </p:cNvSpPr>
          <p:nvPr>
            <p:ph type="body" sz="quarter" idx="10"/>
          </p:nvPr>
        </p:nvSpPr>
        <p:spPr bwMode="gray">
          <a:xfrm>
            <a:off x="563530" y="2363976"/>
            <a:ext cx="8275670" cy="2123658"/>
          </a:xfrm>
        </p:spPr>
        <p:txBody>
          <a:bodyPr wrap="square" lIns="0" tIns="0" rIns="0" bIns="0">
            <a:spAutoFit/>
          </a:bodyPr>
          <a:lstStyle/>
          <a:p>
            <a:pPr marL="233363" indent="-233363">
              <a:lnSpc>
                <a:spcPct val="100000"/>
              </a:lnSpc>
              <a:spcBef>
                <a:spcPts val="1600"/>
              </a:spcBef>
            </a:pPr>
            <a:r>
              <a:rPr lang="en-IN" sz="2000" dirty="0" smtClean="0">
                <a:solidFill>
                  <a:schemeClr val="tx1"/>
                </a:solidFill>
              </a:rPr>
              <a:t>Hadoop is an open-source project overseen by the Apache Software Foundation</a:t>
            </a:r>
          </a:p>
          <a:p>
            <a:pPr marL="233363" indent="-233363">
              <a:lnSpc>
                <a:spcPct val="100000"/>
              </a:lnSpc>
              <a:spcBef>
                <a:spcPts val="1600"/>
              </a:spcBef>
            </a:pPr>
            <a:r>
              <a:rPr lang="en-IN" sz="2000" dirty="0" smtClean="0">
                <a:solidFill>
                  <a:schemeClr val="tx1"/>
                </a:solidFill>
              </a:rPr>
              <a:t>Originally based on papers published by Google in 2003 and 2004</a:t>
            </a:r>
          </a:p>
          <a:p>
            <a:pPr marL="233363" indent="-233363">
              <a:lnSpc>
                <a:spcPct val="100000"/>
              </a:lnSpc>
              <a:spcBef>
                <a:spcPts val="1600"/>
              </a:spcBef>
            </a:pPr>
            <a:r>
              <a:rPr lang="en-IN" sz="2000" dirty="0" smtClean="0">
                <a:solidFill>
                  <a:schemeClr val="tx1"/>
                </a:solidFill>
              </a:rPr>
              <a:t>Hadoop committers work at several different organizations</a:t>
            </a:r>
          </a:p>
          <a:p>
            <a:pPr marL="457200" lvl="1" indent="-236538">
              <a:spcBef>
                <a:spcPts val="1600"/>
              </a:spcBef>
            </a:pPr>
            <a:r>
              <a:rPr lang="en-IN" sz="1800" dirty="0" smtClean="0"/>
              <a:t>Including Cloudera, Yahoo!, Facebook</a:t>
            </a:r>
            <a:endParaRPr lang="en-IN" sz="1800" dirty="0"/>
          </a:p>
        </p:txBody>
      </p:sp>
    </p:spTree>
    <p:extLst>
      <p:ext uri="{BB962C8B-B14F-4D97-AF65-F5344CB8AC3E}">
        <p14:creationId xmlns:p14="http://schemas.microsoft.com/office/powerpoint/2010/main" val="337278259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b="0"/>
              <a:t>HADOOP –WHY IS IT DIFFERENT ?</a:t>
            </a:r>
            <a:endParaRPr lang="en-IN"/>
          </a:p>
        </p:txBody>
      </p:sp>
      <p:sp>
        <p:nvSpPr>
          <p:cNvPr id="3" name="Rounded Rectangle 2"/>
          <p:cNvSpPr/>
          <p:nvPr/>
        </p:nvSpPr>
        <p:spPr bwMode="gray">
          <a:xfrm>
            <a:off x="3327605" y="1967072"/>
            <a:ext cx="2552012" cy="733598"/>
          </a:xfrm>
          <a:prstGeom prst="roundRect">
            <a:avLst/>
          </a:prstGeom>
          <a:solidFill>
            <a:schemeClr val="bg1">
              <a:lumMod val="75000"/>
            </a:schemeClr>
          </a:solidFill>
          <a:ln w="9525">
            <a:solidFill>
              <a:schemeClr val="bg1">
                <a:lumMod val="65000"/>
              </a:schemeClr>
            </a:solidFill>
          </a:ln>
          <a:effectLst>
            <a:outerShdw blurRad="2032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800" b="1" smtClean="0">
                <a:solidFill>
                  <a:schemeClr val="tx1">
                    <a:lumMod val="75000"/>
                  </a:schemeClr>
                </a:solidFill>
              </a:rPr>
              <a:t>Accessible</a:t>
            </a:r>
            <a:endParaRPr lang="en-IN" sz="2800" b="1">
              <a:solidFill>
                <a:schemeClr val="tx1">
                  <a:lumMod val="75000"/>
                </a:schemeClr>
              </a:solidFill>
            </a:endParaRPr>
          </a:p>
        </p:txBody>
      </p:sp>
      <p:sp>
        <p:nvSpPr>
          <p:cNvPr id="4" name="Rounded Rectangle 3"/>
          <p:cNvSpPr/>
          <p:nvPr/>
        </p:nvSpPr>
        <p:spPr bwMode="gray">
          <a:xfrm>
            <a:off x="3327605" y="4072318"/>
            <a:ext cx="2552012" cy="733598"/>
          </a:xfrm>
          <a:prstGeom prst="roundRect">
            <a:avLst/>
          </a:prstGeom>
          <a:solidFill>
            <a:schemeClr val="bg1">
              <a:lumMod val="95000"/>
            </a:schemeClr>
          </a:solidFill>
          <a:ln w="9525">
            <a:solidFill>
              <a:schemeClr val="bg1">
                <a:lumMod val="65000"/>
              </a:schemeClr>
            </a:solidFill>
          </a:ln>
          <a:effectLst>
            <a:outerShdw blurRad="2032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800" b="1" smtClean="0">
                <a:solidFill>
                  <a:schemeClr val="tx1"/>
                </a:solidFill>
              </a:rPr>
              <a:t>Scalable</a:t>
            </a:r>
            <a:endParaRPr lang="en-IN" sz="2800" b="1">
              <a:solidFill>
                <a:schemeClr val="tx1"/>
              </a:solidFill>
            </a:endParaRPr>
          </a:p>
        </p:txBody>
      </p:sp>
      <p:sp>
        <p:nvSpPr>
          <p:cNvPr id="7" name="Rounded Rectangle 6"/>
          <p:cNvSpPr/>
          <p:nvPr/>
        </p:nvSpPr>
        <p:spPr bwMode="gray">
          <a:xfrm>
            <a:off x="5879614" y="3051596"/>
            <a:ext cx="2552012" cy="733598"/>
          </a:xfrm>
          <a:prstGeom prst="roundRect">
            <a:avLst/>
          </a:prstGeom>
          <a:solidFill>
            <a:schemeClr val="bg1">
              <a:lumMod val="75000"/>
            </a:schemeClr>
          </a:solidFill>
          <a:ln w="9525">
            <a:solidFill>
              <a:schemeClr val="bg1">
                <a:lumMod val="65000"/>
              </a:schemeClr>
            </a:solidFill>
          </a:ln>
          <a:effectLst>
            <a:outerShdw blurRad="2032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800" b="1" smtClean="0">
                <a:solidFill>
                  <a:schemeClr val="tx1">
                    <a:lumMod val="75000"/>
                  </a:schemeClr>
                </a:solidFill>
              </a:rPr>
              <a:t>Robust</a:t>
            </a:r>
            <a:endParaRPr lang="en-IN" sz="2800" b="1">
              <a:solidFill>
                <a:schemeClr val="tx1">
                  <a:lumMod val="75000"/>
                </a:schemeClr>
              </a:solidFill>
            </a:endParaRPr>
          </a:p>
        </p:txBody>
      </p:sp>
      <p:sp>
        <p:nvSpPr>
          <p:cNvPr id="8" name="Rounded Rectangle 7"/>
          <p:cNvSpPr/>
          <p:nvPr/>
        </p:nvSpPr>
        <p:spPr bwMode="gray">
          <a:xfrm>
            <a:off x="775593" y="3051596"/>
            <a:ext cx="2552012" cy="733598"/>
          </a:xfrm>
          <a:prstGeom prst="roundRect">
            <a:avLst/>
          </a:prstGeom>
          <a:solidFill>
            <a:schemeClr val="bg1">
              <a:lumMod val="75000"/>
            </a:schemeClr>
          </a:solidFill>
          <a:ln w="9525">
            <a:solidFill>
              <a:schemeClr val="bg1">
                <a:lumMod val="65000"/>
              </a:schemeClr>
            </a:solidFill>
          </a:ln>
          <a:effectLst>
            <a:outerShdw blurRad="2032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800" b="1" smtClean="0">
                <a:solidFill>
                  <a:schemeClr val="tx1">
                    <a:lumMod val="75000"/>
                  </a:schemeClr>
                </a:solidFill>
              </a:rPr>
              <a:t>Simple</a:t>
            </a:r>
            <a:endParaRPr lang="en-IN" sz="2800" b="1">
              <a:solidFill>
                <a:schemeClr val="tx1">
                  <a:lumMod val="75000"/>
                </a:schemeClr>
              </a:solidFill>
            </a:endParaRPr>
          </a:p>
        </p:txBody>
      </p:sp>
    </p:spTree>
    <p:extLst>
      <p:ext uri="{BB962C8B-B14F-4D97-AF65-F5344CB8AC3E}">
        <p14:creationId xmlns:p14="http://schemas.microsoft.com/office/powerpoint/2010/main" val="307276403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dirty="0" smtClean="0"/>
              <a:t>Hadoop</a:t>
            </a:r>
            <a:endParaRPr lang="en-IN" dirty="0"/>
          </a:p>
        </p:txBody>
      </p:sp>
      <p:sp>
        <p:nvSpPr>
          <p:cNvPr id="3" name="Content Placeholder 2"/>
          <p:cNvSpPr>
            <a:spLocks noGrp="1"/>
          </p:cNvSpPr>
          <p:nvPr>
            <p:ph type="body" sz="quarter" idx="10"/>
          </p:nvPr>
        </p:nvSpPr>
        <p:spPr bwMode="gray">
          <a:xfrm>
            <a:off x="563530" y="1587779"/>
            <a:ext cx="3491469" cy="276999"/>
          </a:xfrm>
        </p:spPr>
        <p:txBody>
          <a:bodyPr wrap="none" lIns="0" tIns="0" rIns="0" bIns="0">
            <a:spAutoFit/>
          </a:bodyPr>
          <a:lstStyle/>
          <a:p>
            <a:pPr marL="233363" indent="-233363">
              <a:lnSpc>
                <a:spcPct val="100000"/>
              </a:lnSpc>
              <a:spcBef>
                <a:spcPts val="1200"/>
              </a:spcBef>
            </a:pPr>
            <a:r>
              <a:rPr lang="en-IN" sz="1800" dirty="0" smtClean="0">
                <a:solidFill>
                  <a:schemeClr val="tx1"/>
                </a:solidFill>
              </a:rPr>
              <a:t>Hadoop has following </a:t>
            </a:r>
            <a:r>
              <a:rPr lang="en-IN" sz="1800" dirty="0" smtClean="0">
                <a:solidFill>
                  <a:schemeClr val="tx1"/>
                </a:solidFill>
              </a:rPr>
              <a:t>components</a:t>
            </a:r>
            <a:endParaRPr lang="en-IN" sz="1800" dirty="0" smtClean="0">
              <a:solidFill>
                <a:schemeClr val="tx1"/>
              </a:solidFill>
            </a:endParaRPr>
          </a:p>
        </p:txBody>
      </p:sp>
      <p:sp>
        <p:nvSpPr>
          <p:cNvPr id="4" name="Rounded Rectangle 3"/>
          <p:cNvSpPr/>
          <p:nvPr/>
        </p:nvSpPr>
        <p:spPr bwMode="gray">
          <a:xfrm>
            <a:off x="574991" y="3147317"/>
            <a:ext cx="3254153" cy="2834640"/>
          </a:xfrm>
          <a:prstGeom prst="roundRect">
            <a:avLst>
              <a:gd name="adj" fmla="val 8333"/>
            </a:avLst>
          </a:prstGeom>
          <a:solidFill>
            <a:schemeClr val="bg1">
              <a:lumMod val="95000"/>
            </a:schemeClr>
          </a:solidFill>
          <a:ln w="9525">
            <a:solidFill>
              <a:schemeClr val="bg1">
                <a:lumMod val="65000"/>
              </a:schemeClr>
            </a:solidFill>
          </a:ln>
          <a:effectLst>
            <a:outerShdw blurRad="2032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233363" indent="-233363">
              <a:spcBef>
                <a:spcPts val="1200"/>
              </a:spcBef>
              <a:buClr>
                <a:schemeClr val="bg2"/>
              </a:buClr>
              <a:buFont typeface="+mj-lt"/>
              <a:buAutoNum type="arabicPeriod"/>
            </a:pPr>
            <a:r>
              <a:rPr lang="en-IN" dirty="0" smtClean="0">
                <a:solidFill>
                  <a:schemeClr val="tx1"/>
                </a:solidFill>
              </a:rPr>
              <a:t>HDFS </a:t>
            </a:r>
            <a:r>
              <a:rPr lang="en-IN" dirty="0">
                <a:solidFill>
                  <a:schemeClr val="tx1"/>
                </a:solidFill>
              </a:rPr>
              <a:t>–Storage </a:t>
            </a:r>
          </a:p>
          <a:p>
            <a:pPr marL="233363" indent="-233363">
              <a:spcBef>
                <a:spcPts val="1200"/>
              </a:spcBef>
              <a:buClr>
                <a:schemeClr val="bg2"/>
              </a:buClr>
              <a:buFont typeface="+mj-lt"/>
              <a:buAutoNum type="arabicPeriod"/>
            </a:pPr>
            <a:r>
              <a:rPr lang="en-IN" dirty="0" smtClean="0">
                <a:solidFill>
                  <a:schemeClr val="tx1"/>
                </a:solidFill>
              </a:rPr>
              <a:t>Map </a:t>
            </a:r>
            <a:r>
              <a:rPr lang="en-IN" dirty="0">
                <a:solidFill>
                  <a:schemeClr val="tx1"/>
                </a:solidFill>
              </a:rPr>
              <a:t>Reduce for processing</a:t>
            </a:r>
          </a:p>
        </p:txBody>
      </p:sp>
      <p:sp>
        <p:nvSpPr>
          <p:cNvPr id="5" name="Rounded Rectangle 4"/>
          <p:cNvSpPr/>
          <p:nvPr/>
        </p:nvSpPr>
        <p:spPr bwMode="gray">
          <a:xfrm>
            <a:off x="5444722" y="3157948"/>
            <a:ext cx="3254153" cy="2834640"/>
          </a:xfrm>
          <a:prstGeom prst="roundRect">
            <a:avLst>
              <a:gd name="adj" fmla="val 8603"/>
            </a:avLst>
          </a:prstGeom>
          <a:solidFill>
            <a:schemeClr val="bg1">
              <a:lumMod val="95000"/>
            </a:schemeClr>
          </a:solidFill>
          <a:ln w="9525">
            <a:solidFill>
              <a:schemeClr val="bg1">
                <a:lumMod val="65000"/>
              </a:schemeClr>
            </a:solidFill>
          </a:ln>
          <a:effectLst>
            <a:outerShdw blurRad="2032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spcBef>
                <a:spcPts val="1200"/>
              </a:spcBef>
            </a:pPr>
            <a:r>
              <a:rPr lang="en-IN" dirty="0">
                <a:solidFill>
                  <a:schemeClr val="tx1"/>
                </a:solidFill>
              </a:rPr>
              <a:t>Name Node</a:t>
            </a:r>
          </a:p>
          <a:p>
            <a:pPr>
              <a:spcBef>
                <a:spcPts val="1200"/>
              </a:spcBef>
            </a:pPr>
            <a:r>
              <a:rPr lang="en-IN" dirty="0">
                <a:solidFill>
                  <a:schemeClr val="tx1"/>
                </a:solidFill>
              </a:rPr>
              <a:t>Secondary Name node</a:t>
            </a:r>
          </a:p>
          <a:p>
            <a:pPr>
              <a:spcBef>
                <a:spcPts val="1200"/>
              </a:spcBef>
            </a:pPr>
            <a:r>
              <a:rPr lang="en-IN" dirty="0">
                <a:solidFill>
                  <a:schemeClr val="tx1"/>
                </a:solidFill>
              </a:rPr>
              <a:t>Data Node</a:t>
            </a:r>
          </a:p>
          <a:p>
            <a:pPr>
              <a:spcBef>
                <a:spcPts val="1200"/>
              </a:spcBef>
            </a:pPr>
            <a:r>
              <a:rPr lang="en-IN" dirty="0">
                <a:solidFill>
                  <a:schemeClr val="tx1"/>
                </a:solidFill>
              </a:rPr>
              <a:t>Job Tracker</a:t>
            </a:r>
          </a:p>
          <a:p>
            <a:pPr>
              <a:spcBef>
                <a:spcPts val="1200"/>
              </a:spcBef>
            </a:pPr>
            <a:r>
              <a:rPr lang="en-IN" dirty="0">
                <a:solidFill>
                  <a:schemeClr val="tx1"/>
                </a:solidFill>
              </a:rPr>
              <a:t>Task Tracker</a:t>
            </a:r>
          </a:p>
        </p:txBody>
      </p:sp>
      <p:sp>
        <p:nvSpPr>
          <p:cNvPr id="6" name="Rectangle 5"/>
          <p:cNvSpPr/>
          <p:nvPr/>
        </p:nvSpPr>
        <p:spPr bwMode="gray">
          <a:xfrm>
            <a:off x="574991" y="2744689"/>
            <a:ext cx="1211357" cy="276999"/>
          </a:xfrm>
          <a:prstGeom prst="rect">
            <a:avLst/>
          </a:prstGeom>
        </p:spPr>
        <p:txBody>
          <a:bodyPr wrap="none" lIns="0" tIns="0" rIns="0" bIns="0">
            <a:spAutoFit/>
          </a:bodyPr>
          <a:lstStyle/>
          <a:p>
            <a:r>
              <a:rPr lang="en-IN" b="1" dirty="0">
                <a:solidFill>
                  <a:schemeClr val="bg2"/>
                </a:solidFill>
              </a:rPr>
              <a:t>Components</a:t>
            </a:r>
          </a:p>
        </p:txBody>
      </p:sp>
      <p:sp>
        <p:nvSpPr>
          <p:cNvPr id="7" name="Rectangle 6"/>
          <p:cNvSpPr/>
          <p:nvPr/>
        </p:nvSpPr>
        <p:spPr bwMode="gray">
          <a:xfrm>
            <a:off x="5412825" y="2744689"/>
            <a:ext cx="900888" cy="276999"/>
          </a:xfrm>
          <a:prstGeom prst="rect">
            <a:avLst/>
          </a:prstGeom>
        </p:spPr>
        <p:txBody>
          <a:bodyPr wrap="none" lIns="0" tIns="0" rIns="0" bIns="0">
            <a:spAutoFit/>
          </a:bodyPr>
          <a:lstStyle/>
          <a:p>
            <a:r>
              <a:rPr lang="en-IN" b="1" dirty="0">
                <a:solidFill>
                  <a:schemeClr val="bg2"/>
                </a:solidFill>
              </a:rPr>
              <a:t>Daemons</a:t>
            </a:r>
          </a:p>
        </p:txBody>
      </p:sp>
    </p:spTree>
    <p:extLst>
      <p:ext uri="{BB962C8B-B14F-4D97-AF65-F5344CB8AC3E}">
        <p14:creationId xmlns:p14="http://schemas.microsoft.com/office/powerpoint/2010/main" val="98726974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dirty="0" smtClean="0"/>
              <a:t>HDFS</a:t>
            </a:r>
            <a:endParaRPr lang="en-IN" dirty="0"/>
          </a:p>
        </p:txBody>
      </p:sp>
      <p:sp>
        <p:nvSpPr>
          <p:cNvPr id="3" name="Content Placeholder 2"/>
          <p:cNvSpPr>
            <a:spLocks noGrp="1"/>
          </p:cNvSpPr>
          <p:nvPr>
            <p:ph type="body" sz="quarter" idx="10"/>
          </p:nvPr>
        </p:nvSpPr>
        <p:spPr bwMode="gray">
          <a:xfrm>
            <a:off x="563530" y="2289557"/>
            <a:ext cx="8275670" cy="2462213"/>
          </a:xfrm>
        </p:spPr>
        <p:txBody>
          <a:bodyPr wrap="square" lIns="0" tIns="0" rIns="0" bIns="0">
            <a:spAutoFit/>
          </a:bodyPr>
          <a:lstStyle/>
          <a:p>
            <a:pPr marL="233363" indent="-233363">
              <a:lnSpc>
                <a:spcPct val="100000"/>
              </a:lnSpc>
              <a:spcBef>
                <a:spcPts val="1200"/>
              </a:spcBef>
            </a:pPr>
            <a:r>
              <a:rPr lang="en-IN" sz="2400" dirty="0">
                <a:solidFill>
                  <a:schemeClr val="tx1"/>
                </a:solidFill>
              </a:rPr>
              <a:t>HDFS -Key Design Principles</a:t>
            </a:r>
          </a:p>
          <a:p>
            <a:pPr marL="233363" indent="-233363">
              <a:lnSpc>
                <a:spcPct val="100000"/>
              </a:lnSpc>
              <a:spcBef>
                <a:spcPts val="1200"/>
              </a:spcBef>
            </a:pPr>
            <a:r>
              <a:rPr lang="en-IN" sz="2400" dirty="0">
                <a:solidFill>
                  <a:schemeClr val="tx1"/>
                </a:solidFill>
              </a:rPr>
              <a:t>HDFS -Building Blocks</a:t>
            </a:r>
          </a:p>
          <a:p>
            <a:pPr marL="233363" indent="-233363">
              <a:lnSpc>
                <a:spcPct val="100000"/>
              </a:lnSpc>
              <a:spcBef>
                <a:spcPts val="1200"/>
              </a:spcBef>
            </a:pPr>
            <a:r>
              <a:rPr lang="en-IN" sz="2400" dirty="0">
                <a:solidFill>
                  <a:schemeClr val="tx1"/>
                </a:solidFill>
              </a:rPr>
              <a:t>Name Node &amp; Data Node</a:t>
            </a:r>
          </a:p>
          <a:p>
            <a:pPr marL="233363" indent="-233363">
              <a:lnSpc>
                <a:spcPct val="100000"/>
              </a:lnSpc>
              <a:spcBef>
                <a:spcPts val="1200"/>
              </a:spcBef>
            </a:pPr>
            <a:r>
              <a:rPr lang="en-IN" sz="2400" dirty="0">
                <a:solidFill>
                  <a:schemeClr val="tx1"/>
                </a:solidFill>
              </a:rPr>
              <a:t>Deployment modes</a:t>
            </a:r>
          </a:p>
          <a:p>
            <a:pPr marL="233363" indent="-233363">
              <a:lnSpc>
                <a:spcPct val="100000"/>
              </a:lnSpc>
              <a:spcBef>
                <a:spcPts val="1200"/>
              </a:spcBef>
            </a:pPr>
            <a:r>
              <a:rPr lang="en-IN" sz="2400" dirty="0">
                <a:solidFill>
                  <a:schemeClr val="tx1"/>
                </a:solidFill>
              </a:rPr>
              <a:t>HDFS commands</a:t>
            </a:r>
          </a:p>
        </p:txBody>
      </p:sp>
    </p:spTree>
    <p:extLst>
      <p:ext uri="{BB962C8B-B14F-4D97-AF65-F5344CB8AC3E}">
        <p14:creationId xmlns:p14="http://schemas.microsoft.com/office/powerpoint/2010/main" val="418105700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Prerequisites</a:t>
            </a:r>
            <a:endParaRPr lang="en-IN" dirty="0"/>
          </a:p>
        </p:txBody>
      </p:sp>
      <p:sp>
        <p:nvSpPr>
          <p:cNvPr id="3" name="Content Placeholder 2"/>
          <p:cNvSpPr>
            <a:spLocks noGrp="1"/>
          </p:cNvSpPr>
          <p:nvPr>
            <p:ph idx="4294967295"/>
          </p:nvPr>
        </p:nvSpPr>
        <p:spPr bwMode="gray">
          <a:xfrm>
            <a:off x="566056" y="1600201"/>
            <a:ext cx="8273144" cy="3683060"/>
          </a:xfrm>
          <a:prstGeom prst="rect">
            <a:avLst/>
          </a:prstGeom>
        </p:spPr>
        <p:txBody>
          <a:bodyPr wrap="square" lIns="0" tIns="0" rIns="0" bIns="0">
            <a:spAutoFit/>
          </a:bodyPr>
          <a:lstStyle/>
          <a:p>
            <a:pPr>
              <a:spcBef>
                <a:spcPts val="800"/>
              </a:spcBef>
            </a:pPr>
            <a:r>
              <a:rPr lang="en-IN" dirty="0" smtClean="0">
                <a:solidFill>
                  <a:schemeClr val="tx1"/>
                </a:solidFill>
                <a:latin typeface="+mj-lt"/>
              </a:rPr>
              <a:t>Local Machine having</a:t>
            </a:r>
          </a:p>
          <a:p>
            <a:pPr lvl="1">
              <a:spcBef>
                <a:spcPts val="800"/>
              </a:spcBef>
              <a:buClr>
                <a:schemeClr val="bg2"/>
              </a:buClr>
              <a:buSzPct val="125000"/>
              <a:buFont typeface="Calibri" panose="020F0502020204030204" pitchFamily="34" charset="0"/>
              <a:buChar char="›"/>
            </a:pPr>
            <a:r>
              <a:rPr lang="en-IN" dirty="0">
                <a:solidFill>
                  <a:schemeClr val="tx1"/>
                </a:solidFill>
                <a:latin typeface="+mj-lt"/>
              </a:rPr>
              <a:t>8 GB RAM  64MB in all computers</a:t>
            </a:r>
            <a:r>
              <a:rPr lang="en-IN" dirty="0" smtClean="0">
                <a:solidFill>
                  <a:schemeClr val="tx1"/>
                </a:solidFill>
                <a:latin typeface="+mj-lt"/>
              </a:rPr>
              <a:t>.</a:t>
            </a:r>
          </a:p>
          <a:p>
            <a:pPr>
              <a:spcBef>
                <a:spcPts val="800"/>
              </a:spcBef>
            </a:pPr>
            <a:r>
              <a:rPr lang="en-IN" dirty="0" smtClean="0">
                <a:solidFill>
                  <a:schemeClr val="tx1"/>
                </a:solidFill>
                <a:latin typeface="+mj-lt"/>
              </a:rPr>
              <a:t>Virtual Machine having</a:t>
            </a:r>
            <a:endParaRPr lang="en-IN" dirty="0">
              <a:solidFill>
                <a:schemeClr val="tx1"/>
              </a:solidFill>
              <a:latin typeface="+mj-lt"/>
            </a:endParaRPr>
          </a:p>
          <a:p>
            <a:pPr lvl="1">
              <a:spcBef>
                <a:spcPts val="800"/>
              </a:spcBef>
              <a:buClr>
                <a:schemeClr val="bg2"/>
              </a:buClr>
              <a:buSzPct val="125000"/>
              <a:buFont typeface="Calibri" panose="020F0502020204030204" pitchFamily="34" charset="0"/>
              <a:buChar char="›"/>
            </a:pPr>
            <a:r>
              <a:rPr lang="en-IN" dirty="0">
                <a:solidFill>
                  <a:schemeClr val="tx1"/>
                </a:solidFill>
                <a:latin typeface="+mj-lt"/>
              </a:rPr>
              <a:t>Ubuntu 14.4 installed</a:t>
            </a:r>
          </a:p>
          <a:p>
            <a:pPr lvl="1">
              <a:spcBef>
                <a:spcPts val="800"/>
              </a:spcBef>
              <a:buClr>
                <a:schemeClr val="bg2"/>
              </a:buClr>
              <a:buSzPct val="125000"/>
              <a:buFont typeface="Calibri" panose="020F0502020204030204" pitchFamily="34" charset="0"/>
              <a:buChar char="›"/>
            </a:pPr>
            <a:r>
              <a:rPr lang="en-IN" dirty="0">
                <a:solidFill>
                  <a:schemeClr val="tx1"/>
                </a:solidFill>
                <a:latin typeface="+mj-lt"/>
              </a:rPr>
              <a:t>Root password</a:t>
            </a:r>
          </a:p>
          <a:p>
            <a:pPr lvl="1">
              <a:spcBef>
                <a:spcPts val="800"/>
              </a:spcBef>
              <a:buClr>
                <a:schemeClr val="bg2"/>
              </a:buClr>
              <a:buSzPct val="125000"/>
              <a:buFont typeface="Calibri" panose="020F0502020204030204" pitchFamily="34" charset="0"/>
              <a:buChar char="›"/>
            </a:pPr>
            <a:r>
              <a:rPr lang="en-IN" dirty="0" err="1">
                <a:solidFill>
                  <a:schemeClr val="tx1"/>
                </a:solidFill>
                <a:latin typeface="+mj-lt"/>
              </a:rPr>
              <a:t>ssh</a:t>
            </a:r>
            <a:r>
              <a:rPr lang="en-IN" dirty="0">
                <a:solidFill>
                  <a:schemeClr val="tx1"/>
                </a:solidFill>
                <a:latin typeface="+mj-lt"/>
              </a:rPr>
              <a:t> on port 22 is up and running</a:t>
            </a:r>
          </a:p>
          <a:p>
            <a:pPr lvl="2">
              <a:spcBef>
                <a:spcPts val="600"/>
              </a:spcBef>
              <a:buClr>
                <a:schemeClr val="bg2"/>
              </a:buClr>
              <a:buSzPct val="125000"/>
              <a:buFont typeface="Calibri" panose="020F0502020204030204" pitchFamily="34" charset="0"/>
              <a:buChar char="»"/>
            </a:pPr>
            <a:r>
              <a:rPr lang="en-IN" dirty="0" smtClean="0">
                <a:solidFill>
                  <a:schemeClr val="tx1"/>
                </a:solidFill>
                <a:latin typeface="+mj-lt"/>
              </a:rPr>
              <a:t>This </a:t>
            </a:r>
            <a:r>
              <a:rPr lang="en-IN" dirty="0">
                <a:solidFill>
                  <a:schemeClr val="tx1"/>
                </a:solidFill>
                <a:latin typeface="+mj-lt"/>
              </a:rPr>
              <a:t>can be test with the following </a:t>
            </a:r>
            <a:r>
              <a:rPr lang="en-IN" dirty="0" smtClean="0">
                <a:solidFill>
                  <a:schemeClr val="tx1"/>
                </a:solidFill>
                <a:latin typeface="+mj-lt"/>
              </a:rPr>
              <a:t>command</a:t>
            </a:r>
          </a:p>
          <a:p>
            <a:pPr marL="1085850" lvl="2" indent="-171450">
              <a:spcBef>
                <a:spcPts val="600"/>
              </a:spcBef>
              <a:buClr>
                <a:schemeClr val="tx1"/>
              </a:buClr>
              <a:buSzPct val="125000"/>
              <a:buFont typeface="Calibri" panose="020F0502020204030204" pitchFamily="34" charset="0"/>
              <a:buChar char="»"/>
            </a:pPr>
            <a:r>
              <a:rPr lang="en-IN" sz="1000" dirty="0" err="1" smtClean="0">
                <a:solidFill>
                  <a:schemeClr val="tx1"/>
                </a:solidFill>
                <a:latin typeface="+mj-lt"/>
                <a:cs typeface="Arial" panose="020B0604020202020204" pitchFamily="34" charset="0"/>
              </a:rPr>
              <a:t>ssh</a:t>
            </a:r>
            <a:r>
              <a:rPr lang="en-IN" sz="1000" dirty="0" smtClean="0">
                <a:solidFill>
                  <a:schemeClr val="tx1"/>
                </a:solidFill>
                <a:latin typeface="+mj-lt"/>
                <a:cs typeface="Arial" panose="020B0604020202020204" pitchFamily="34" charset="0"/>
              </a:rPr>
              <a:t> </a:t>
            </a:r>
            <a:r>
              <a:rPr lang="en-IN" sz="1000" dirty="0" err="1">
                <a:solidFill>
                  <a:schemeClr val="tx1"/>
                </a:solidFill>
                <a:latin typeface="+mj-lt"/>
                <a:cs typeface="Arial" panose="020B0604020202020204" pitchFamily="34" charset="0"/>
              </a:rPr>
              <a:t>localhost</a:t>
            </a:r>
            <a:r>
              <a:rPr lang="en-IN" sz="1000" dirty="0">
                <a:solidFill>
                  <a:schemeClr val="tx1"/>
                </a:solidFill>
                <a:latin typeface="+mj-lt"/>
                <a:cs typeface="Arial" panose="020B0604020202020204" pitchFamily="34" charset="0"/>
              </a:rPr>
              <a:t> and enter the password , it should go through.</a:t>
            </a:r>
          </a:p>
          <a:p>
            <a:pPr lvl="1">
              <a:spcBef>
                <a:spcPts val="800"/>
              </a:spcBef>
              <a:buClr>
                <a:schemeClr val="bg2"/>
              </a:buClr>
              <a:buSzPct val="125000"/>
              <a:buFont typeface="Calibri" panose="020F0502020204030204" pitchFamily="34" charset="0"/>
              <a:buChar char="›"/>
            </a:pPr>
            <a:r>
              <a:rPr lang="en-IN" dirty="0">
                <a:solidFill>
                  <a:schemeClr val="tx1"/>
                </a:solidFill>
                <a:latin typeface="+mj-lt"/>
              </a:rPr>
              <a:t>If not please install </a:t>
            </a:r>
            <a:r>
              <a:rPr lang="en-IN" dirty="0" err="1">
                <a:solidFill>
                  <a:schemeClr val="tx1"/>
                </a:solidFill>
                <a:latin typeface="+mj-lt"/>
              </a:rPr>
              <a:t>ssh</a:t>
            </a:r>
            <a:r>
              <a:rPr lang="en-IN" dirty="0">
                <a:solidFill>
                  <a:schemeClr val="tx1"/>
                </a:solidFill>
                <a:latin typeface="+mj-lt"/>
              </a:rPr>
              <a:t> server and client with the following commands</a:t>
            </a:r>
          </a:p>
          <a:p>
            <a:pPr lvl="2">
              <a:spcBef>
                <a:spcPts val="600"/>
              </a:spcBef>
              <a:buClr>
                <a:schemeClr val="bg2"/>
              </a:buClr>
              <a:buSzPct val="125000"/>
              <a:buFont typeface="Calibri" panose="020F0502020204030204" pitchFamily="34" charset="0"/>
              <a:buChar char="»"/>
            </a:pPr>
            <a:r>
              <a:rPr lang="en-IN" dirty="0" err="1">
                <a:solidFill>
                  <a:schemeClr val="tx1"/>
                </a:solidFill>
                <a:latin typeface="+mj-lt"/>
              </a:rPr>
              <a:t>sudo</a:t>
            </a:r>
            <a:r>
              <a:rPr lang="en-IN" dirty="0">
                <a:solidFill>
                  <a:schemeClr val="tx1"/>
                </a:solidFill>
                <a:latin typeface="+mj-lt"/>
              </a:rPr>
              <a:t> apt-get install </a:t>
            </a:r>
            <a:r>
              <a:rPr lang="en-IN" dirty="0" err="1">
                <a:solidFill>
                  <a:schemeClr val="tx1"/>
                </a:solidFill>
                <a:latin typeface="+mj-lt"/>
              </a:rPr>
              <a:t>openssh</a:t>
            </a:r>
            <a:r>
              <a:rPr lang="en-IN" dirty="0">
                <a:solidFill>
                  <a:schemeClr val="tx1"/>
                </a:solidFill>
                <a:latin typeface="+mj-lt"/>
              </a:rPr>
              <a:t>-server</a:t>
            </a:r>
          </a:p>
          <a:p>
            <a:pPr lvl="2">
              <a:spcBef>
                <a:spcPts val="600"/>
              </a:spcBef>
              <a:buClr>
                <a:schemeClr val="bg2"/>
              </a:buClr>
              <a:buSzPct val="125000"/>
              <a:buFont typeface="Calibri" panose="020F0502020204030204" pitchFamily="34" charset="0"/>
              <a:buChar char="»"/>
            </a:pPr>
            <a:r>
              <a:rPr lang="en-IN" dirty="0" err="1">
                <a:solidFill>
                  <a:schemeClr val="tx1"/>
                </a:solidFill>
                <a:latin typeface="+mj-lt"/>
              </a:rPr>
              <a:t>sudo</a:t>
            </a:r>
            <a:r>
              <a:rPr lang="en-IN" dirty="0">
                <a:solidFill>
                  <a:schemeClr val="tx1"/>
                </a:solidFill>
                <a:latin typeface="+mj-lt"/>
              </a:rPr>
              <a:t> apt-get install </a:t>
            </a:r>
            <a:r>
              <a:rPr lang="en-IN" dirty="0" err="1">
                <a:solidFill>
                  <a:schemeClr val="tx1"/>
                </a:solidFill>
                <a:latin typeface="+mj-lt"/>
              </a:rPr>
              <a:t>openssh</a:t>
            </a:r>
            <a:r>
              <a:rPr lang="en-IN" dirty="0">
                <a:solidFill>
                  <a:schemeClr val="tx1"/>
                </a:solidFill>
                <a:latin typeface="+mj-lt"/>
              </a:rPr>
              <a:t>-client</a:t>
            </a:r>
          </a:p>
          <a:p>
            <a:pPr>
              <a:spcBef>
                <a:spcPts val="800"/>
              </a:spcBef>
            </a:pPr>
            <a:r>
              <a:rPr lang="en-IN" dirty="0" smtClean="0">
                <a:solidFill>
                  <a:schemeClr val="tx1"/>
                </a:solidFill>
                <a:latin typeface="+mj-lt"/>
              </a:rPr>
              <a:t>Basic Java and Linux commands</a:t>
            </a:r>
          </a:p>
        </p:txBody>
      </p:sp>
    </p:spTree>
    <p:extLst>
      <p:ext uri="{BB962C8B-B14F-4D97-AF65-F5344CB8AC3E}">
        <p14:creationId xmlns:p14="http://schemas.microsoft.com/office/powerpoint/2010/main" val="381423298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dirty="0" smtClean="0"/>
              <a:t>HDFS</a:t>
            </a:r>
            <a:endParaRPr lang="en-IN" dirty="0"/>
          </a:p>
        </p:txBody>
      </p:sp>
      <p:sp>
        <p:nvSpPr>
          <p:cNvPr id="3" name="Content Placeholder 2"/>
          <p:cNvSpPr>
            <a:spLocks noGrp="1"/>
          </p:cNvSpPr>
          <p:nvPr>
            <p:ph type="body" sz="quarter" idx="10"/>
          </p:nvPr>
        </p:nvSpPr>
        <p:spPr bwMode="gray">
          <a:xfrm>
            <a:off x="563530" y="1928035"/>
            <a:ext cx="8275670" cy="3508653"/>
          </a:xfrm>
        </p:spPr>
        <p:txBody>
          <a:bodyPr wrap="square" lIns="0" tIns="0" rIns="0" bIns="0">
            <a:spAutoFit/>
          </a:bodyPr>
          <a:lstStyle/>
          <a:p>
            <a:pPr marL="233363" indent="-233363">
              <a:lnSpc>
                <a:spcPct val="100000"/>
              </a:lnSpc>
              <a:spcBef>
                <a:spcPts val="1600"/>
              </a:spcBef>
            </a:pPr>
            <a:r>
              <a:rPr lang="en-IN" sz="2000" dirty="0">
                <a:solidFill>
                  <a:schemeClr val="tx1"/>
                </a:solidFill>
              </a:rPr>
              <a:t>HDFS, the Hadoop Distributed File System, is responsible </a:t>
            </a:r>
            <a:r>
              <a:rPr lang="en-IN" sz="2000" dirty="0" smtClean="0">
                <a:solidFill>
                  <a:schemeClr val="tx1"/>
                </a:solidFill>
              </a:rPr>
              <a:t>for storing </a:t>
            </a:r>
            <a:r>
              <a:rPr lang="en-IN" sz="2000" dirty="0">
                <a:solidFill>
                  <a:schemeClr val="tx1"/>
                </a:solidFill>
              </a:rPr>
              <a:t>data on the cluster</a:t>
            </a:r>
          </a:p>
          <a:p>
            <a:pPr marL="233363" indent="-233363">
              <a:lnSpc>
                <a:spcPct val="100000"/>
              </a:lnSpc>
              <a:spcBef>
                <a:spcPts val="1600"/>
              </a:spcBef>
            </a:pPr>
            <a:r>
              <a:rPr lang="en-IN" sz="2000" dirty="0" smtClean="0">
                <a:solidFill>
                  <a:schemeClr val="tx1"/>
                </a:solidFill>
              </a:rPr>
              <a:t>Data </a:t>
            </a:r>
            <a:r>
              <a:rPr lang="en-IN" sz="2000" dirty="0">
                <a:solidFill>
                  <a:schemeClr val="tx1"/>
                </a:solidFill>
              </a:rPr>
              <a:t>is split into blocks and distributed across multiple nodes </a:t>
            </a:r>
            <a:r>
              <a:rPr lang="en-IN" sz="2000" dirty="0" smtClean="0">
                <a:solidFill>
                  <a:schemeClr val="tx1"/>
                </a:solidFill>
              </a:rPr>
              <a:t>in the </a:t>
            </a:r>
            <a:r>
              <a:rPr lang="en-IN" sz="2000" dirty="0">
                <a:solidFill>
                  <a:schemeClr val="tx1"/>
                </a:solidFill>
              </a:rPr>
              <a:t>cluster</a:t>
            </a:r>
          </a:p>
          <a:p>
            <a:pPr marL="457200" lvl="1" indent="-223838">
              <a:spcBef>
                <a:spcPts val="1600"/>
              </a:spcBef>
            </a:pPr>
            <a:r>
              <a:rPr lang="en-IN" sz="1800" dirty="0" smtClean="0"/>
              <a:t>Each </a:t>
            </a:r>
            <a:r>
              <a:rPr lang="en-IN" sz="1800" dirty="0"/>
              <a:t>block is typically 64MB or 128MB in </a:t>
            </a:r>
            <a:r>
              <a:rPr lang="en-IN" sz="1800" dirty="0" smtClean="0"/>
              <a:t>size</a:t>
            </a:r>
          </a:p>
          <a:p>
            <a:pPr marL="233363" indent="-233363">
              <a:lnSpc>
                <a:spcPct val="100000"/>
              </a:lnSpc>
              <a:spcBef>
                <a:spcPts val="1600"/>
              </a:spcBef>
            </a:pPr>
            <a:r>
              <a:rPr lang="en-IN" sz="2000" dirty="0" smtClean="0">
                <a:solidFill>
                  <a:schemeClr val="tx1"/>
                </a:solidFill>
              </a:rPr>
              <a:t>Each </a:t>
            </a:r>
            <a:r>
              <a:rPr lang="en-IN" sz="2000" dirty="0">
                <a:solidFill>
                  <a:schemeClr val="tx1"/>
                </a:solidFill>
              </a:rPr>
              <a:t>block is replicated multiple </a:t>
            </a:r>
            <a:r>
              <a:rPr lang="en-IN" sz="2000" dirty="0" smtClean="0">
                <a:solidFill>
                  <a:schemeClr val="tx1"/>
                </a:solidFill>
              </a:rPr>
              <a:t>times</a:t>
            </a:r>
          </a:p>
          <a:p>
            <a:pPr marL="457200" lvl="1" indent="-223838">
              <a:spcBef>
                <a:spcPts val="1600"/>
              </a:spcBef>
            </a:pPr>
            <a:r>
              <a:rPr lang="en-IN" sz="1800" dirty="0" smtClean="0"/>
              <a:t>Default </a:t>
            </a:r>
            <a:r>
              <a:rPr lang="en-IN" sz="1800" dirty="0"/>
              <a:t>is to replicate each block three </a:t>
            </a:r>
            <a:r>
              <a:rPr lang="en-IN" sz="1800" dirty="0" smtClean="0"/>
              <a:t>times</a:t>
            </a:r>
          </a:p>
          <a:p>
            <a:pPr marL="457200" lvl="1" indent="-223838">
              <a:spcBef>
                <a:spcPts val="1600"/>
              </a:spcBef>
            </a:pPr>
            <a:r>
              <a:rPr lang="en-IN" sz="1800" dirty="0" smtClean="0"/>
              <a:t>Replicas </a:t>
            </a:r>
            <a:r>
              <a:rPr lang="en-IN" sz="1800" dirty="0"/>
              <a:t>are stored on different </a:t>
            </a:r>
            <a:r>
              <a:rPr lang="en-IN" sz="1800" dirty="0" smtClean="0"/>
              <a:t>nodes</a:t>
            </a:r>
          </a:p>
          <a:p>
            <a:pPr marL="690563" lvl="2" indent="-233363">
              <a:spcBef>
                <a:spcPts val="1600"/>
              </a:spcBef>
            </a:pPr>
            <a:r>
              <a:rPr lang="en-IN" sz="1600" dirty="0" smtClean="0"/>
              <a:t>This </a:t>
            </a:r>
            <a:r>
              <a:rPr lang="en-IN" sz="1600" dirty="0"/>
              <a:t>ensures both reliability and availability</a:t>
            </a:r>
          </a:p>
        </p:txBody>
      </p:sp>
    </p:spTree>
    <p:extLst>
      <p:ext uri="{BB962C8B-B14F-4D97-AF65-F5344CB8AC3E}">
        <p14:creationId xmlns:p14="http://schemas.microsoft.com/office/powerpoint/2010/main" val="78758687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dirty="0" smtClean="0"/>
              <a:t>HDFS Building Blocks</a:t>
            </a:r>
            <a:endParaRPr lang="en-IN" dirty="0"/>
          </a:p>
        </p:txBody>
      </p:sp>
      <p:sp>
        <p:nvSpPr>
          <p:cNvPr id="3" name="Content Placeholder 2"/>
          <p:cNvSpPr>
            <a:spLocks noGrp="1"/>
          </p:cNvSpPr>
          <p:nvPr>
            <p:ph type="body" sz="quarter" idx="10"/>
          </p:nvPr>
        </p:nvSpPr>
        <p:spPr bwMode="gray">
          <a:xfrm>
            <a:off x="563530" y="1640944"/>
            <a:ext cx="8275670" cy="3724096"/>
          </a:xfrm>
        </p:spPr>
        <p:txBody>
          <a:bodyPr wrap="square" lIns="0" tIns="0" rIns="0" bIns="0">
            <a:spAutoFit/>
          </a:bodyPr>
          <a:lstStyle/>
          <a:p>
            <a:pPr marL="233363" indent="-233363">
              <a:lnSpc>
                <a:spcPct val="100000"/>
              </a:lnSpc>
              <a:spcBef>
                <a:spcPts val="1200"/>
              </a:spcBef>
            </a:pPr>
            <a:r>
              <a:rPr lang="en-IN" sz="1800" dirty="0">
                <a:solidFill>
                  <a:schemeClr val="tx1"/>
                </a:solidFill>
              </a:rPr>
              <a:t>File is split into multiple chunks and stored</a:t>
            </a:r>
          </a:p>
          <a:p>
            <a:pPr marL="233363" indent="-233363">
              <a:lnSpc>
                <a:spcPct val="100000"/>
              </a:lnSpc>
              <a:spcBef>
                <a:spcPts val="1200"/>
              </a:spcBef>
            </a:pPr>
            <a:r>
              <a:rPr lang="en-IN" sz="1800" dirty="0">
                <a:solidFill>
                  <a:schemeClr val="tx1"/>
                </a:solidFill>
              </a:rPr>
              <a:t>Each chunk is called BLOCK</a:t>
            </a:r>
          </a:p>
          <a:p>
            <a:pPr marL="233363" indent="-233363">
              <a:lnSpc>
                <a:spcPct val="100000"/>
              </a:lnSpc>
              <a:spcBef>
                <a:spcPts val="1200"/>
              </a:spcBef>
            </a:pPr>
            <a:r>
              <a:rPr lang="en-IN" sz="1800" dirty="0">
                <a:solidFill>
                  <a:schemeClr val="tx1"/>
                </a:solidFill>
              </a:rPr>
              <a:t>HDFS block sizes are large-64 MB</a:t>
            </a:r>
          </a:p>
          <a:p>
            <a:pPr marL="233363" indent="-233363">
              <a:lnSpc>
                <a:spcPct val="100000"/>
              </a:lnSpc>
              <a:spcBef>
                <a:spcPts val="1200"/>
              </a:spcBef>
            </a:pPr>
            <a:r>
              <a:rPr lang="en-IN" sz="1800" dirty="0">
                <a:solidFill>
                  <a:schemeClr val="tx1"/>
                </a:solidFill>
              </a:rPr>
              <a:t>Why large block size?</a:t>
            </a:r>
          </a:p>
          <a:p>
            <a:pPr marL="233363" indent="-233363">
              <a:lnSpc>
                <a:spcPct val="100000"/>
              </a:lnSpc>
              <a:spcBef>
                <a:spcPts val="1200"/>
              </a:spcBef>
            </a:pPr>
            <a:r>
              <a:rPr lang="en-IN" sz="1800" dirty="0">
                <a:solidFill>
                  <a:schemeClr val="tx1"/>
                </a:solidFill>
              </a:rPr>
              <a:t>Hadoop does not access one record at a time, it has to process all data </a:t>
            </a:r>
          </a:p>
          <a:p>
            <a:pPr marL="233363" indent="-233363">
              <a:lnSpc>
                <a:spcPct val="100000"/>
              </a:lnSpc>
              <a:spcBef>
                <a:spcPts val="1200"/>
              </a:spcBef>
            </a:pPr>
            <a:r>
              <a:rPr lang="en-IN" sz="1800" dirty="0">
                <a:solidFill>
                  <a:schemeClr val="tx1"/>
                </a:solidFill>
              </a:rPr>
              <a:t>Keeping block size large keeps number of disk </a:t>
            </a:r>
            <a:r>
              <a:rPr lang="en-IN" sz="1800" dirty="0" smtClean="0">
                <a:solidFill>
                  <a:schemeClr val="tx1"/>
                </a:solidFill>
              </a:rPr>
              <a:t>transfers </a:t>
            </a:r>
            <a:r>
              <a:rPr lang="en-IN" sz="1800" dirty="0">
                <a:solidFill>
                  <a:schemeClr val="tx1"/>
                </a:solidFill>
              </a:rPr>
              <a:t>to low</a:t>
            </a:r>
          </a:p>
          <a:p>
            <a:pPr marL="233363" indent="-233363">
              <a:lnSpc>
                <a:spcPct val="100000"/>
              </a:lnSpc>
              <a:spcBef>
                <a:spcPts val="1200"/>
              </a:spcBef>
            </a:pPr>
            <a:r>
              <a:rPr lang="en-IN" sz="1800" dirty="0">
                <a:solidFill>
                  <a:schemeClr val="tx1"/>
                </a:solidFill>
              </a:rPr>
              <a:t>Map Reduce processes one block at a time</a:t>
            </a:r>
          </a:p>
          <a:p>
            <a:pPr marL="233363" indent="-233363">
              <a:lnSpc>
                <a:spcPct val="100000"/>
              </a:lnSpc>
              <a:spcBef>
                <a:spcPts val="1200"/>
              </a:spcBef>
            </a:pPr>
            <a:r>
              <a:rPr lang="en-IN" sz="1800" dirty="0">
                <a:solidFill>
                  <a:schemeClr val="tx1"/>
                </a:solidFill>
              </a:rPr>
              <a:t>Blocks are replicated across multiple machines</a:t>
            </a:r>
          </a:p>
          <a:p>
            <a:pPr marL="233363" indent="-233363">
              <a:lnSpc>
                <a:spcPct val="100000"/>
              </a:lnSpc>
              <a:spcBef>
                <a:spcPts val="1200"/>
              </a:spcBef>
            </a:pPr>
            <a:r>
              <a:rPr lang="en-IN" sz="1800" dirty="0">
                <a:solidFill>
                  <a:schemeClr val="tx1"/>
                </a:solidFill>
              </a:rPr>
              <a:t>By default it stores 3 copies of each block in separate machines at any point of time</a:t>
            </a:r>
          </a:p>
        </p:txBody>
      </p:sp>
    </p:spTree>
    <p:extLst>
      <p:ext uri="{BB962C8B-B14F-4D97-AF65-F5344CB8AC3E}">
        <p14:creationId xmlns:p14="http://schemas.microsoft.com/office/powerpoint/2010/main" val="15593722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dirty="0" smtClean="0"/>
              <a:t>HDFS – Basic Concepts</a:t>
            </a:r>
            <a:endParaRPr lang="en-IN" dirty="0"/>
          </a:p>
        </p:txBody>
      </p:sp>
      <p:sp>
        <p:nvSpPr>
          <p:cNvPr id="3" name="Content Placeholder 2"/>
          <p:cNvSpPr>
            <a:spLocks noGrp="1"/>
          </p:cNvSpPr>
          <p:nvPr>
            <p:ph type="body" sz="quarter" idx="10"/>
          </p:nvPr>
        </p:nvSpPr>
        <p:spPr bwMode="gray">
          <a:xfrm>
            <a:off x="563530" y="1662210"/>
            <a:ext cx="8275670" cy="4226798"/>
          </a:xfrm>
        </p:spPr>
        <p:txBody>
          <a:bodyPr wrap="square" lIns="0" tIns="0" rIns="0" bIns="0">
            <a:spAutoFit/>
          </a:bodyPr>
          <a:lstStyle/>
          <a:p>
            <a:pPr marL="233363" indent="-233363">
              <a:lnSpc>
                <a:spcPct val="100000"/>
              </a:lnSpc>
              <a:spcBef>
                <a:spcPts val="1200"/>
              </a:spcBef>
            </a:pPr>
            <a:r>
              <a:rPr lang="en-IN" sz="1800" dirty="0">
                <a:solidFill>
                  <a:schemeClr val="tx1"/>
                </a:solidFill>
              </a:rPr>
              <a:t>HDFS is a </a:t>
            </a:r>
            <a:r>
              <a:rPr lang="en-IN" sz="1800" dirty="0" smtClean="0">
                <a:solidFill>
                  <a:schemeClr val="tx1"/>
                </a:solidFill>
              </a:rPr>
              <a:t>file system </a:t>
            </a:r>
            <a:r>
              <a:rPr lang="en-IN" sz="1800" dirty="0">
                <a:solidFill>
                  <a:schemeClr val="tx1"/>
                </a:solidFill>
              </a:rPr>
              <a:t>written in </a:t>
            </a:r>
            <a:r>
              <a:rPr lang="en-IN" sz="1800" dirty="0" smtClean="0">
                <a:solidFill>
                  <a:schemeClr val="tx1"/>
                </a:solidFill>
              </a:rPr>
              <a:t>Java</a:t>
            </a:r>
          </a:p>
          <a:p>
            <a:pPr marL="457200" lvl="1" indent="-223838">
              <a:spcBef>
                <a:spcPts val="800"/>
              </a:spcBef>
            </a:pPr>
            <a:r>
              <a:rPr lang="en-IN" sz="1600" dirty="0" smtClean="0"/>
              <a:t>Based </a:t>
            </a:r>
            <a:r>
              <a:rPr lang="en-IN" sz="1600" dirty="0"/>
              <a:t>on Google’s GFS</a:t>
            </a:r>
          </a:p>
          <a:p>
            <a:pPr marL="233363" indent="-233363">
              <a:lnSpc>
                <a:spcPct val="100000"/>
              </a:lnSpc>
              <a:spcBef>
                <a:spcPts val="1200"/>
              </a:spcBef>
            </a:pPr>
            <a:r>
              <a:rPr lang="en-IN" sz="1800" dirty="0" smtClean="0">
                <a:solidFill>
                  <a:schemeClr val="tx1"/>
                </a:solidFill>
              </a:rPr>
              <a:t>Sits </a:t>
            </a:r>
            <a:r>
              <a:rPr lang="en-IN" sz="1800" dirty="0">
                <a:solidFill>
                  <a:schemeClr val="tx1"/>
                </a:solidFill>
              </a:rPr>
              <a:t>on top of a </a:t>
            </a:r>
            <a:r>
              <a:rPr lang="en-IN" sz="1800" dirty="0" smtClean="0">
                <a:solidFill>
                  <a:schemeClr val="tx1"/>
                </a:solidFill>
              </a:rPr>
              <a:t>native </a:t>
            </a:r>
            <a:r>
              <a:rPr lang="en-IN" sz="1800" dirty="0" err="1" smtClean="0">
                <a:solidFill>
                  <a:schemeClr val="tx1"/>
                </a:solidFill>
              </a:rPr>
              <a:t>filesystem</a:t>
            </a:r>
            <a:r>
              <a:rPr lang="en-IN" sz="1800" dirty="0">
                <a:solidFill>
                  <a:schemeClr val="tx1"/>
                </a:solidFill>
              </a:rPr>
              <a:t> </a:t>
            </a:r>
            <a:r>
              <a:rPr lang="en-IN" sz="1800" dirty="0" smtClean="0">
                <a:solidFill>
                  <a:schemeClr val="tx1"/>
                </a:solidFill>
              </a:rPr>
              <a:t>such </a:t>
            </a:r>
            <a:r>
              <a:rPr lang="en-IN" sz="1800" dirty="0">
                <a:solidFill>
                  <a:schemeClr val="tx1"/>
                </a:solidFill>
              </a:rPr>
              <a:t>as ext3, ext4 or </a:t>
            </a:r>
            <a:r>
              <a:rPr lang="en-IN" sz="1800" dirty="0" err="1" smtClean="0">
                <a:solidFill>
                  <a:schemeClr val="tx1"/>
                </a:solidFill>
              </a:rPr>
              <a:t>xfs</a:t>
            </a:r>
            <a:endParaRPr lang="en-IN" sz="1800" dirty="0">
              <a:solidFill>
                <a:schemeClr val="tx1"/>
              </a:solidFill>
            </a:endParaRPr>
          </a:p>
          <a:p>
            <a:pPr marL="233363" indent="-233363">
              <a:lnSpc>
                <a:spcPct val="100000"/>
              </a:lnSpc>
              <a:spcBef>
                <a:spcPts val="1200"/>
              </a:spcBef>
            </a:pPr>
            <a:r>
              <a:rPr lang="en-IN" sz="1800" dirty="0" smtClean="0">
                <a:solidFill>
                  <a:schemeClr val="tx1"/>
                </a:solidFill>
              </a:rPr>
              <a:t>Provides </a:t>
            </a:r>
            <a:r>
              <a:rPr lang="en-IN" sz="1800" dirty="0">
                <a:solidFill>
                  <a:schemeClr val="tx1"/>
                </a:solidFill>
              </a:rPr>
              <a:t>redundant storage for massive amounts of </a:t>
            </a:r>
            <a:r>
              <a:rPr lang="en-IN" sz="1800" dirty="0" smtClean="0">
                <a:solidFill>
                  <a:schemeClr val="tx1"/>
                </a:solidFill>
              </a:rPr>
              <a:t>data</a:t>
            </a:r>
          </a:p>
          <a:p>
            <a:pPr marL="457200" lvl="1" indent="-223838">
              <a:spcBef>
                <a:spcPts val="800"/>
              </a:spcBef>
            </a:pPr>
            <a:r>
              <a:rPr lang="en-IN" sz="1600" dirty="0" smtClean="0"/>
              <a:t>Using </a:t>
            </a:r>
            <a:r>
              <a:rPr lang="en-IN" sz="1600" dirty="0"/>
              <a:t>cheap</a:t>
            </a:r>
            <a:r>
              <a:rPr lang="en-IN" sz="1600" dirty="0" smtClean="0"/>
              <a:t>, </a:t>
            </a:r>
            <a:r>
              <a:rPr lang="en-IN" sz="1600" dirty="0"/>
              <a:t>unreliable </a:t>
            </a:r>
            <a:r>
              <a:rPr lang="en-IN" sz="1600" dirty="0" smtClean="0"/>
              <a:t>computers</a:t>
            </a:r>
          </a:p>
          <a:p>
            <a:pPr marL="233363" indent="-233363">
              <a:lnSpc>
                <a:spcPct val="100000"/>
              </a:lnSpc>
              <a:spcBef>
                <a:spcPts val="1200"/>
              </a:spcBef>
            </a:pPr>
            <a:r>
              <a:rPr lang="en-IN" sz="1800" dirty="0">
                <a:solidFill>
                  <a:schemeClr val="tx1"/>
                </a:solidFill>
              </a:rPr>
              <a:t>HDFS performs best with a ‘modest’ number of large files</a:t>
            </a:r>
          </a:p>
          <a:p>
            <a:pPr marL="457200" lvl="1" indent="-223838">
              <a:spcBef>
                <a:spcPts val="800"/>
              </a:spcBef>
            </a:pPr>
            <a:r>
              <a:rPr lang="en-IN" sz="1600" dirty="0"/>
              <a:t>Millions, rather than billions, of files</a:t>
            </a:r>
          </a:p>
          <a:p>
            <a:pPr marL="457200" lvl="1" indent="-223838">
              <a:spcBef>
                <a:spcPts val="800"/>
              </a:spcBef>
            </a:pPr>
            <a:r>
              <a:rPr lang="en-IN" sz="1600" dirty="0"/>
              <a:t>Each file typically 100MB or more</a:t>
            </a:r>
          </a:p>
          <a:p>
            <a:pPr marL="233363" indent="-233363">
              <a:lnSpc>
                <a:spcPct val="100000"/>
              </a:lnSpc>
              <a:spcBef>
                <a:spcPts val="1200"/>
              </a:spcBef>
            </a:pPr>
            <a:r>
              <a:rPr lang="en-IN" sz="1800" dirty="0">
                <a:solidFill>
                  <a:schemeClr val="tx1"/>
                </a:solidFill>
              </a:rPr>
              <a:t>Files in HDFS are ‘write once’</a:t>
            </a:r>
          </a:p>
          <a:p>
            <a:pPr marL="457200" lvl="1" indent="-223838">
              <a:spcBef>
                <a:spcPts val="800"/>
              </a:spcBef>
            </a:pPr>
            <a:r>
              <a:rPr lang="en-IN" sz="1600" dirty="0"/>
              <a:t>No random writes to files are allowed</a:t>
            </a:r>
          </a:p>
          <a:p>
            <a:pPr marL="233363" indent="-233363">
              <a:lnSpc>
                <a:spcPct val="100000"/>
              </a:lnSpc>
              <a:spcBef>
                <a:spcPts val="1200"/>
              </a:spcBef>
            </a:pPr>
            <a:r>
              <a:rPr lang="en-IN" sz="1800" dirty="0">
                <a:solidFill>
                  <a:schemeClr val="tx1"/>
                </a:solidFill>
              </a:rPr>
              <a:t>HDFS is optimized for large, streaming reads of files Rather than random </a:t>
            </a:r>
            <a:r>
              <a:rPr lang="en-IN" sz="1800" dirty="0" smtClean="0">
                <a:solidFill>
                  <a:schemeClr val="tx1"/>
                </a:solidFill>
              </a:rPr>
              <a:t>reads</a:t>
            </a:r>
            <a:endParaRPr lang="en-IN" sz="1800" dirty="0">
              <a:solidFill>
                <a:schemeClr val="tx1"/>
              </a:solidFill>
            </a:endParaRPr>
          </a:p>
        </p:txBody>
      </p:sp>
    </p:spTree>
    <p:extLst>
      <p:ext uri="{BB962C8B-B14F-4D97-AF65-F5344CB8AC3E}">
        <p14:creationId xmlns:p14="http://schemas.microsoft.com/office/powerpoint/2010/main" val="311894249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normAutofit/>
          </a:bodyPr>
          <a:lstStyle/>
          <a:p>
            <a:r>
              <a:rPr lang="en-IN" dirty="0" smtClean="0"/>
              <a:t>Hadoop Components</a:t>
            </a:r>
            <a:endParaRPr lang="en-IN" dirty="0"/>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9206" t="8398" r="14333"/>
          <a:stretch/>
        </p:blipFill>
        <p:spPr bwMode="gray">
          <a:xfrm>
            <a:off x="457198" y="1212090"/>
            <a:ext cx="8463517" cy="4870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01570225"/>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dirty="0" smtClean="0"/>
              <a:t>HDFS – NameNode and </a:t>
            </a:r>
            <a:r>
              <a:rPr lang="en-IN" dirty="0" err="1" smtClean="0"/>
              <a:t>DataNode</a:t>
            </a:r>
            <a:endParaRPr lang="en-IN" dirty="0"/>
          </a:p>
        </p:txBody>
      </p:sp>
      <p:sp>
        <p:nvSpPr>
          <p:cNvPr id="3" name="Content Placeholder 2"/>
          <p:cNvSpPr>
            <a:spLocks noGrp="1"/>
          </p:cNvSpPr>
          <p:nvPr>
            <p:ph type="body" sz="quarter" idx="10"/>
          </p:nvPr>
        </p:nvSpPr>
        <p:spPr bwMode="gray">
          <a:xfrm>
            <a:off x="566738" y="1672856"/>
            <a:ext cx="8272462" cy="3539430"/>
          </a:xfrm>
        </p:spPr>
        <p:txBody>
          <a:bodyPr wrap="square" lIns="0" tIns="0" rIns="0" bIns="0">
            <a:spAutoFit/>
          </a:bodyPr>
          <a:lstStyle/>
          <a:p>
            <a:pPr marL="233363" indent="-233363">
              <a:lnSpc>
                <a:spcPct val="100000"/>
              </a:lnSpc>
              <a:spcBef>
                <a:spcPts val="1200"/>
              </a:spcBef>
            </a:pPr>
            <a:r>
              <a:rPr lang="en-IN" sz="2000" dirty="0">
                <a:solidFill>
                  <a:schemeClr val="tx1"/>
                </a:solidFill>
              </a:rPr>
              <a:t>Name </a:t>
            </a:r>
            <a:r>
              <a:rPr lang="en-IN" sz="2000" dirty="0" smtClean="0">
                <a:solidFill>
                  <a:schemeClr val="tx1"/>
                </a:solidFill>
              </a:rPr>
              <a:t>Node manages </a:t>
            </a:r>
            <a:r>
              <a:rPr lang="en-IN" sz="2000" dirty="0">
                <a:solidFill>
                  <a:schemeClr val="tx1"/>
                </a:solidFill>
              </a:rPr>
              <a:t>the file system namespace</a:t>
            </a:r>
          </a:p>
          <a:p>
            <a:pPr marL="233363" indent="-233363">
              <a:lnSpc>
                <a:spcPct val="100000"/>
              </a:lnSpc>
              <a:spcBef>
                <a:spcPts val="1200"/>
              </a:spcBef>
            </a:pPr>
            <a:r>
              <a:rPr lang="en-IN" sz="2000" dirty="0">
                <a:solidFill>
                  <a:schemeClr val="tx1"/>
                </a:solidFill>
              </a:rPr>
              <a:t>Stores the metadata of all the file and directory details</a:t>
            </a:r>
          </a:p>
          <a:p>
            <a:pPr marL="233363" indent="-233363">
              <a:lnSpc>
                <a:spcPct val="100000"/>
              </a:lnSpc>
              <a:spcBef>
                <a:spcPts val="1200"/>
              </a:spcBef>
            </a:pPr>
            <a:r>
              <a:rPr lang="en-IN" sz="2000" dirty="0">
                <a:solidFill>
                  <a:schemeClr val="tx1"/>
                </a:solidFill>
              </a:rPr>
              <a:t>Knows what data nodes and the blocks of files they store</a:t>
            </a:r>
          </a:p>
          <a:p>
            <a:pPr marL="233363" indent="-233363">
              <a:lnSpc>
                <a:spcPct val="100000"/>
              </a:lnSpc>
              <a:spcBef>
                <a:spcPts val="1200"/>
              </a:spcBef>
            </a:pPr>
            <a:r>
              <a:rPr lang="en-IN" sz="2000" dirty="0">
                <a:solidFill>
                  <a:schemeClr val="tx1"/>
                </a:solidFill>
              </a:rPr>
              <a:t>Without Name Node, HDFS is unusable</a:t>
            </a:r>
          </a:p>
          <a:p>
            <a:pPr marL="233363" indent="-233363">
              <a:lnSpc>
                <a:spcPct val="100000"/>
              </a:lnSpc>
              <a:spcBef>
                <a:spcPts val="1200"/>
              </a:spcBef>
            </a:pPr>
            <a:r>
              <a:rPr lang="en-IN" sz="2000" dirty="0">
                <a:solidFill>
                  <a:schemeClr val="tx1"/>
                </a:solidFill>
              </a:rPr>
              <a:t>To withstand failure write metadata to multiple disks or local disk and NFS</a:t>
            </a:r>
          </a:p>
          <a:p>
            <a:pPr marL="233363" indent="-233363">
              <a:lnSpc>
                <a:spcPct val="100000"/>
              </a:lnSpc>
              <a:spcBef>
                <a:spcPts val="1200"/>
              </a:spcBef>
            </a:pPr>
            <a:r>
              <a:rPr lang="en-IN" sz="2000" dirty="0">
                <a:solidFill>
                  <a:schemeClr val="tx1"/>
                </a:solidFill>
              </a:rPr>
              <a:t>Secondary Name </a:t>
            </a:r>
            <a:r>
              <a:rPr lang="en-IN" sz="2000" dirty="0" smtClean="0">
                <a:solidFill>
                  <a:schemeClr val="tx1"/>
                </a:solidFill>
              </a:rPr>
              <a:t>Node is </a:t>
            </a:r>
            <a:r>
              <a:rPr lang="en-IN" sz="2000" dirty="0">
                <a:solidFill>
                  <a:schemeClr val="tx1"/>
                </a:solidFill>
              </a:rPr>
              <a:t>NOT an automatic failover system</a:t>
            </a:r>
          </a:p>
          <a:p>
            <a:pPr marL="233363" indent="-233363">
              <a:lnSpc>
                <a:spcPct val="100000"/>
              </a:lnSpc>
              <a:spcBef>
                <a:spcPts val="1200"/>
              </a:spcBef>
            </a:pPr>
            <a:r>
              <a:rPr lang="en-IN" sz="2000" dirty="0">
                <a:solidFill>
                  <a:schemeClr val="tx1"/>
                </a:solidFill>
              </a:rPr>
              <a:t>Merges namespace with the edit log</a:t>
            </a:r>
          </a:p>
          <a:p>
            <a:pPr marL="233363" indent="-233363">
              <a:lnSpc>
                <a:spcPct val="100000"/>
              </a:lnSpc>
              <a:spcBef>
                <a:spcPts val="1200"/>
              </a:spcBef>
            </a:pPr>
            <a:r>
              <a:rPr lang="en-IN" sz="2000" dirty="0">
                <a:solidFill>
                  <a:schemeClr val="tx1"/>
                </a:solidFill>
              </a:rPr>
              <a:t>Recover from Name Node </a:t>
            </a:r>
            <a:r>
              <a:rPr lang="en-IN" sz="2000" dirty="0" smtClean="0">
                <a:solidFill>
                  <a:schemeClr val="tx1"/>
                </a:solidFill>
              </a:rPr>
              <a:t>failure</a:t>
            </a:r>
            <a:endParaRPr lang="en-IN" sz="2000" dirty="0">
              <a:solidFill>
                <a:schemeClr val="tx1"/>
              </a:solidFill>
            </a:endParaRPr>
          </a:p>
        </p:txBody>
      </p:sp>
    </p:spTree>
    <p:extLst>
      <p:ext uri="{BB962C8B-B14F-4D97-AF65-F5344CB8AC3E}">
        <p14:creationId xmlns:p14="http://schemas.microsoft.com/office/powerpoint/2010/main" val="138530176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dirty="0" smtClean="0"/>
              <a:t>HDFS – NameNode and </a:t>
            </a:r>
            <a:r>
              <a:rPr lang="en-IN" dirty="0" err="1" smtClean="0"/>
              <a:t>DataNode</a:t>
            </a:r>
            <a:endParaRPr lang="en-IN"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2014870" y="1170594"/>
            <a:ext cx="4173279" cy="5105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7605633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dirty="0" smtClean="0"/>
              <a:t>HDFS - NameNode</a:t>
            </a:r>
            <a:endParaRPr lang="en-IN" dirty="0"/>
          </a:p>
        </p:txBody>
      </p:sp>
      <p:sp>
        <p:nvSpPr>
          <p:cNvPr id="3" name="Content Placeholder 2"/>
          <p:cNvSpPr>
            <a:spLocks noGrp="1"/>
          </p:cNvSpPr>
          <p:nvPr>
            <p:ph type="body" sz="quarter" idx="10"/>
          </p:nvPr>
        </p:nvSpPr>
        <p:spPr bwMode="gray">
          <a:xfrm>
            <a:off x="566739" y="1694109"/>
            <a:ext cx="8194490" cy="3539430"/>
          </a:xfrm>
        </p:spPr>
        <p:txBody>
          <a:bodyPr wrap="square" lIns="0" tIns="0" rIns="0" bIns="0">
            <a:spAutoFit/>
          </a:bodyPr>
          <a:lstStyle/>
          <a:p>
            <a:pPr marL="233363" indent="-233363">
              <a:lnSpc>
                <a:spcPct val="100000"/>
              </a:lnSpc>
              <a:spcBef>
                <a:spcPts val="1200"/>
              </a:spcBef>
            </a:pPr>
            <a:r>
              <a:rPr lang="en-IN" sz="2000" dirty="0" smtClean="0">
                <a:solidFill>
                  <a:schemeClr val="tx1"/>
                </a:solidFill>
              </a:rPr>
              <a:t>The </a:t>
            </a:r>
            <a:r>
              <a:rPr lang="en-IN" sz="2000" dirty="0">
                <a:solidFill>
                  <a:schemeClr val="tx1"/>
                </a:solidFill>
              </a:rPr>
              <a:t>NameNode daemon must be running at all </a:t>
            </a:r>
            <a:r>
              <a:rPr lang="en-IN" sz="2000" dirty="0" smtClean="0">
                <a:solidFill>
                  <a:schemeClr val="tx1"/>
                </a:solidFill>
              </a:rPr>
              <a:t>times</a:t>
            </a:r>
          </a:p>
          <a:p>
            <a:pPr marL="457200" lvl="1" indent="-236538">
              <a:spcBef>
                <a:spcPts val="800"/>
              </a:spcBef>
            </a:pPr>
            <a:r>
              <a:rPr lang="en-IN" sz="1800" dirty="0" smtClean="0"/>
              <a:t>If </a:t>
            </a:r>
            <a:r>
              <a:rPr lang="en-IN" sz="1800" dirty="0"/>
              <a:t>the NameNode stops, the cluster becomes </a:t>
            </a:r>
            <a:r>
              <a:rPr lang="en-IN" sz="1800" dirty="0" smtClean="0"/>
              <a:t>inaccessible</a:t>
            </a:r>
          </a:p>
          <a:p>
            <a:pPr marL="457200" lvl="1" indent="-236538">
              <a:spcBef>
                <a:spcPts val="800"/>
              </a:spcBef>
            </a:pPr>
            <a:r>
              <a:rPr lang="en-IN" sz="1800" dirty="0" smtClean="0"/>
              <a:t>Your </a:t>
            </a:r>
            <a:r>
              <a:rPr lang="en-IN" sz="1800" dirty="0"/>
              <a:t>system administrator will take care to ensure that </a:t>
            </a:r>
            <a:r>
              <a:rPr lang="en-IN" sz="1800" dirty="0" smtClean="0"/>
              <a:t>the NameNode </a:t>
            </a:r>
            <a:r>
              <a:rPr lang="en-IN" sz="1800" dirty="0"/>
              <a:t>hardware is reliable!</a:t>
            </a:r>
          </a:p>
          <a:p>
            <a:pPr marL="233363" indent="-233363">
              <a:lnSpc>
                <a:spcPct val="100000"/>
              </a:lnSpc>
              <a:spcBef>
                <a:spcPts val="1600"/>
              </a:spcBef>
            </a:pPr>
            <a:r>
              <a:rPr lang="en-IN" sz="2000" dirty="0" smtClean="0">
                <a:solidFill>
                  <a:schemeClr val="tx1"/>
                </a:solidFill>
              </a:rPr>
              <a:t>The </a:t>
            </a:r>
            <a:r>
              <a:rPr lang="en-IN" sz="2000" dirty="0">
                <a:solidFill>
                  <a:schemeClr val="tx1"/>
                </a:solidFill>
              </a:rPr>
              <a:t>NameNode holds all of its metadata in RAM for fast </a:t>
            </a:r>
            <a:r>
              <a:rPr lang="en-IN" sz="2000" dirty="0" smtClean="0">
                <a:solidFill>
                  <a:schemeClr val="tx1"/>
                </a:solidFill>
              </a:rPr>
              <a:t>access</a:t>
            </a:r>
          </a:p>
          <a:p>
            <a:pPr marL="457200" lvl="1" indent="-236538">
              <a:spcBef>
                <a:spcPts val="1200"/>
              </a:spcBef>
            </a:pPr>
            <a:r>
              <a:rPr lang="en-IN" sz="1800" dirty="0" smtClean="0"/>
              <a:t>It </a:t>
            </a:r>
            <a:r>
              <a:rPr lang="en-IN" sz="1800" dirty="0"/>
              <a:t>keeps a record of changes on disk for crash </a:t>
            </a:r>
            <a:r>
              <a:rPr lang="en-IN" sz="1800" dirty="0" smtClean="0"/>
              <a:t>recovery</a:t>
            </a:r>
          </a:p>
          <a:p>
            <a:pPr marL="233363" indent="-233363">
              <a:lnSpc>
                <a:spcPct val="100000"/>
              </a:lnSpc>
              <a:spcBef>
                <a:spcPts val="1600"/>
              </a:spcBef>
            </a:pPr>
            <a:r>
              <a:rPr lang="en-IN" sz="2000" dirty="0" smtClean="0">
                <a:solidFill>
                  <a:schemeClr val="tx1"/>
                </a:solidFill>
              </a:rPr>
              <a:t>A </a:t>
            </a:r>
            <a:r>
              <a:rPr lang="en-IN" sz="2000" dirty="0">
                <a:solidFill>
                  <a:schemeClr val="tx1"/>
                </a:solidFill>
              </a:rPr>
              <a:t>separate daemon known as the </a:t>
            </a:r>
            <a:r>
              <a:rPr lang="en-IN" sz="2000" i="1" dirty="0">
                <a:solidFill>
                  <a:schemeClr val="tx1"/>
                </a:solidFill>
              </a:rPr>
              <a:t>Secondary NameNode </a:t>
            </a:r>
            <a:r>
              <a:rPr lang="en-IN" sz="2000" dirty="0" smtClean="0">
                <a:solidFill>
                  <a:schemeClr val="tx1"/>
                </a:solidFill>
              </a:rPr>
              <a:t>takes care </a:t>
            </a:r>
            <a:r>
              <a:rPr lang="en-IN" sz="2000" dirty="0">
                <a:solidFill>
                  <a:schemeClr val="tx1"/>
                </a:solidFill>
              </a:rPr>
              <a:t>of some housekeeping tasks for the </a:t>
            </a:r>
            <a:r>
              <a:rPr lang="en-IN" sz="2000" dirty="0" smtClean="0">
                <a:solidFill>
                  <a:schemeClr val="tx1"/>
                </a:solidFill>
              </a:rPr>
              <a:t>NameNode</a:t>
            </a:r>
            <a:endParaRPr lang="en-IN" sz="2000" dirty="0">
              <a:solidFill>
                <a:schemeClr val="tx1"/>
              </a:solidFill>
            </a:endParaRPr>
          </a:p>
          <a:p>
            <a:pPr marL="457200" lvl="1" indent="-236538">
              <a:spcBef>
                <a:spcPts val="1200"/>
              </a:spcBef>
            </a:pPr>
            <a:r>
              <a:rPr lang="en-IN" sz="1800" dirty="0" smtClean="0"/>
              <a:t>Be </a:t>
            </a:r>
            <a:r>
              <a:rPr lang="en-IN" sz="1800" dirty="0"/>
              <a:t>careful: The Secondary NameNode is </a:t>
            </a:r>
            <a:r>
              <a:rPr lang="en-IN" sz="1800" b="1" i="1" dirty="0"/>
              <a:t>not</a:t>
            </a:r>
            <a:r>
              <a:rPr lang="en-IN" sz="1800" i="1" dirty="0"/>
              <a:t> </a:t>
            </a:r>
            <a:r>
              <a:rPr lang="en-IN" sz="1800" dirty="0"/>
              <a:t>a </a:t>
            </a:r>
            <a:r>
              <a:rPr lang="en-IN" sz="1800" dirty="0" smtClean="0"/>
              <a:t>backup NameNode</a:t>
            </a:r>
            <a:r>
              <a:rPr lang="en-IN" sz="1800" dirty="0"/>
              <a:t>!</a:t>
            </a:r>
          </a:p>
        </p:txBody>
      </p:sp>
    </p:spTree>
    <p:extLst>
      <p:ext uri="{BB962C8B-B14F-4D97-AF65-F5344CB8AC3E}">
        <p14:creationId xmlns:p14="http://schemas.microsoft.com/office/powerpoint/2010/main" val="316852740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normAutofit/>
          </a:bodyPr>
          <a:lstStyle/>
          <a:p>
            <a:r>
              <a:rPr lang="en-IN" dirty="0" smtClean="0"/>
              <a:t>NameNode Concepts And </a:t>
            </a:r>
            <a:r>
              <a:rPr lang="en-IN" dirty="0" err="1" smtClean="0"/>
              <a:t>Checkpointing</a:t>
            </a:r>
            <a:endParaRPr lang="en-IN" dirty="0"/>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bwMode="gray">
          <a:xfrm>
            <a:off x="1247222" y="1905369"/>
            <a:ext cx="6716564" cy="3768388"/>
          </a:xfrm>
          <a:prstGeom prst="rect">
            <a:avLst/>
          </a:prstGeom>
        </p:spPr>
      </p:pic>
    </p:spTree>
    <p:extLst>
      <p:ext uri="{BB962C8B-B14F-4D97-AF65-F5344CB8AC3E}">
        <p14:creationId xmlns:p14="http://schemas.microsoft.com/office/powerpoint/2010/main" val="2907354589"/>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HDFS – Points to Note</a:t>
            </a:r>
            <a:endParaRPr lang="en-IN" dirty="0"/>
          </a:p>
        </p:txBody>
      </p:sp>
      <p:sp>
        <p:nvSpPr>
          <p:cNvPr id="3" name="Content Placeholder 2"/>
          <p:cNvSpPr>
            <a:spLocks noGrp="1"/>
          </p:cNvSpPr>
          <p:nvPr>
            <p:ph type="body" sz="quarter" idx="10"/>
          </p:nvPr>
        </p:nvSpPr>
        <p:spPr bwMode="gray">
          <a:xfrm>
            <a:off x="563530" y="1577146"/>
            <a:ext cx="8275670" cy="4196020"/>
          </a:xfrm>
        </p:spPr>
        <p:txBody>
          <a:bodyPr wrap="square" lIns="0" tIns="0" rIns="0" bIns="0">
            <a:spAutoFit/>
          </a:bodyPr>
          <a:lstStyle/>
          <a:p>
            <a:pPr marL="233363" indent="-233363">
              <a:lnSpc>
                <a:spcPct val="100000"/>
              </a:lnSpc>
              <a:spcBef>
                <a:spcPts val="1200"/>
              </a:spcBef>
            </a:pPr>
            <a:r>
              <a:rPr lang="en-IN" sz="1800" dirty="0" smtClean="0">
                <a:solidFill>
                  <a:schemeClr val="tx1"/>
                </a:solidFill>
              </a:rPr>
              <a:t>Although files are split into 64MB or 128MB blocks, if a file is smaller than this the full 64MB/128MB will not be used</a:t>
            </a:r>
          </a:p>
          <a:p>
            <a:pPr marL="233363" indent="-233363">
              <a:lnSpc>
                <a:spcPct val="100000"/>
              </a:lnSpc>
              <a:spcBef>
                <a:spcPts val="1200"/>
              </a:spcBef>
            </a:pPr>
            <a:r>
              <a:rPr lang="en-IN" sz="1800" dirty="0" smtClean="0">
                <a:solidFill>
                  <a:schemeClr val="tx1"/>
                </a:solidFill>
              </a:rPr>
              <a:t>Blocks are stored as standard files on the </a:t>
            </a:r>
            <a:r>
              <a:rPr lang="en-IN" sz="1800" dirty="0" err="1" smtClean="0">
                <a:solidFill>
                  <a:schemeClr val="tx1"/>
                </a:solidFill>
              </a:rPr>
              <a:t>DataNodes</a:t>
            </a:r>
            <a:r>
              <a:rPr lang="en-IN" sz="1800" dirty="0" smtClean="0">
                <a:solidFill>
                  <a:schemeClr val="tx1"/>
                </a:solidFill>
              </a:rPr>
              <a:t>, in a set of directories specified in Hadoop’s configuration files</a:t>
            </a:r>
          </a:p>
          <a:p>
            <a:pPr marL="457200" lvl="1" indent="-236538">
              <a:spcBef>
                <a:spcPts val="800"/>
              </a:spcBef>
            </a:pPr>
            <a:r>
              <a:rPr lang="en-IN" sz="1600" dirty="0" smtClean="0"/>
              <a:t>This will be set by the system administrator</a:t>
            </a:r>
          </a:p>
          <a:p>
            <a:pPr marL="233363" indent="-233363">
              <a:lnSpc>
                <a:spcPct val="100000"/>
              </a:lnSpc>
              <a:spcBef>
                <a:spcPts val="1200"/>
              </a:spcBef>
            </a:pPr>
            <a:r>
              <a:rPr lang="en-IN" sz="1800" dirty="0" smtClean="0">
                <a:solidFill>
                  <a:schemeClr val="tx1"/>
                </a:solidFill>
              </a:rPr>
              <a:t>Without the metadata on the </a:t>
            </a:r>
            <a:r>
              <a:rPr lang="en-IN" sz="1800" dirty="0" err="1" smtClean="0">
                <a:solidFill>
                  <a:schemeClr val="tx1"/>
                </a:solidFill>
              </a:rPr>
              <a:t>NameNode</a:t>
            </a:r>
            <a:r>
              <a:rPr lang="en-IN" sz="1800" dirty="0" smtClean="0">
                <a:solidFill>
                  <a:schemeClr val="tx1"/>
                </a:solidFill>
              </a:rPr>
              <a:t>, there is no way to access the files in the HDFS cluster</a:t>
            </a:r>
          </a:p>
          <a:p>
            <a:pPr marL="233363" indent="-233363">
              <a:lnSpc>
                <a:spcPct val="100000"/>
              </a:lnSpc>
              <a:spcBef>
                <a:spcPts val="1200"/>
              </a:spcBef>
            </a:pPr>
            <a:r>
              <a:rPr lang="en-IN" sz="1800" dirty="0" smtClean="0">
                <a:solidFill>
                  <a:schemeClr val="tx1"/>
                </a:solidFill>
              </a:rPr>
              <a:t>When a client application wants to read a file:</a:t>
            </a:r>
          </a:p>
          <a:p>
            <a:pPr marL="457200" lvl="1" indent="-236538">
              <a:spcBef>
                <a:spcPts val="800"/>
              </a:spcBef>
            </a:pPr>
            <a:r>
              <a:rPr lang="en-IN" sz="1600" dirty="0" smtClean="0"/>
              <a:t>It communicates with the </a:t>
            </a:r>
            <a:r>
              <a:rPr lang="en-IN" sz="1600" dirty="0" err="1" smtClean="0"/>
              <a:t>NameNode</a:t>
            </a:r>
            <a:r>
              <a:rPr lang="en-IN" sz="1600" dirty="0" smtClean="0"/>
              <a:t> to determine which blocks make up the file, and which </a:t>
            </a:r>
            <a:r>
              <a:rPr lang="en-IN" sz="1600" dirty="0" err="1" smtClean="0"/>
              <a:t>DataNodes</a:t>
            </a:r>
            <a:r>
              <a:rPr lang="en-IN" sz="1600" dirty="0" smtClean="0"/>
              <a:t> those blocks reside on</a:t>
            </a:r>
          </a:p>
          <a:p>
            <a:pPr marL="457200" lvl="1" indent="-236538">
              <a:spcBef>
                <a:spcPts val="800"/>
              </a:spcBef>
            </a:pPr>
            <a:r>
              <a:rPr lang="en-IN" sz="1600" dirty="0" smtClean="0"/>
              <a:t>It then communicates directly with the </a:t>
            </a:r>
            <a:r>
              <a:rPr lang="en-IN" sz="1600" dirty="0" err="1" smtClean="0"/>
              <a:t>DataNodes</a:t>
            </a:r>
            <a:r>
              <a:rPr lang="en-IN" sz="1600" dirty="0" smtClean="0"/>
              <a:t> to read the data</a:t>
            </a:r>
          </a:p>
          <a:p>
            <a:pPr marL="457200" lvl="1" indent="-236538">
              <a:spcBef>
                <a:spcPts val="800"/>
              </a:spcBef>
            </a:pPr>
            <a:r>
              <a:rPr lang="en-IN" sz="1600" dirty="0" smtClean="0"/>
              <a:t>The </a:t>
            </a:r>
            <a:r>
              <a:rPr lang="en-IN" sz="1600" dirty="0" err="1" smtClean="0"/>
              <a:t>NameNode</a:t>
            </a:r>
            <a:r>
              <a:rPr lang="en-IN" sz="1600" dirty="0" smtClean="0"/>
              <a:t> will not be a bottleneck</a:t>
            </a:r>
            <a:endParaRPr lang="en-IN" sz="1600" dirty="0"/>
          </a:p>
        </p:txBody>
      </p:sp>
    </p:spTree>
    <p:extLst>
      <p:ext uri="{BB962C8B-B14F-4D97-AF65-F5344CB8AC3E}">
        <p14:creationId xmlns:p14="http://schemas.microsoft.com/office/powerpoint/2010/main" val="313071466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bwMode="gray"/>
        <p:txBody>
          <a:bodyPr/>
          <a:lstStyle/>
          <a:p>
            <a:r>
              <a:rPr lang="en-IN" dirty="0" err="1"/>
              <a:t>hadoop</a:t>
            </a:r>
            <a:r>
              <a:rPr lang="en-IN" dirty="0"/>
              <a:t> fs Examples</a:t>
            </a:r>
          </a:p>
        </p:txBody>
      </p:sp>
      <p:sp>
        <p:nvSpPr>
          <p:cNvPr id="3" name="Content Placeholder 2"/>
          <p:cNvSpPr>
            <a:spLocks noGrp="1"/>
          </p:cNvSpPr>
          <p:nvPr>
            <p:ph type="body" sz="quarter" idx="10"/>
          </p:nvPr>
        </p:nvSpPr>
        <p:spPr bwMode="gray">
          <a:xfrm>
            <a:off x="563530" y="1449550"/>
            <a:ext cx="8275670" cy="3054169"/>
          </a:xfrm>
        </p:spPr>
        <p:txBody>
          <a:bodyPr wrap="square" lIns="0" tIns="0" rIns="0" bIns="0">
            <a:spAutoFit/>
          </a:bodyPr>
          <a:lstStyle/>
          <a:p>
            <a:pPr marL="233363" indent="-233363"/>
            <a:r>
              <a:rPr lang="en-IN" sz="1800" b="1" dirty="0" smtClean="0">
                <a:solidFill>
                  <a:schemeClr val="tx1"/>
                </a:solidFill>
              </a:rPr>
              <a:t>Copy file foo.txt from local disk to the user’s directory in HDFS</a:t>
            </a:r>
          </a:p>
          <a:p>
            <a:pPr marL="0" indent="0">
              <a:buNone/>
            </a:pPr>
            <a:r>
              <a:rPr lang="en-IN" dirty="0" smtClean="0">
                <a:solidFill>
                  <a:schemeClr val="tx1"/>
                </a:solidFill>
              </a:rPr>
              <a:t>	</a:t>
            </a:r>
          </a:p>
          <a:p>
            <a:pPr marL="287338" indent="0">
              <a:buNone/>
            </a:pPr>
            <a:r>
              <a:rPr lang="en-IN" sz="1800" dirty="0" smtClean="0">
                <a:solidFill>
                  <a:schemeClr val="tx1"/>
                </a:solidFill>
              </a:rPr>
              <a:t>This will copy the file to </a:t>
            </a:r>
            <a:r>
              <a:rPr lang="en-IN" sz="1800" dirty="0" smtClean="0">
                <a:solidFill>
                  <a:schemeClr val="tx1"/>
                </a:solidFill>
                <a:latin typeface="MoolBoran" panose="020B0100010101010101" pitchFamily="34" charset="0"/>
                <a:cs typeface="MoolBoran" panose="020B0100010101010101" pitchFamily="34" charset="0"/>
              </a:rPr>
              <a:t>/user/username/foo.txt</a:t>
            </a:r>
            <a:endParaRPr lang="en-IN" sz="1500" dirty="0" smtClean="0">
              <a:solidFill>
                <a:schemeClr val="tx1"/>
              </a:solidFill>
              <a:latin typeface="MoolBoran" panose="020B0100010101010101" pitchFamily="34" charset="0"/>
              <a:cs typeface="MoolBoran" panose="020B0100010101010101" pitchFamily="34" charset="0"/>
            </a:endParaRPr>
          </a:p>
          <a:p>
            <a:pPr marL="233363" indent="-233363"/>
            <a:r>
              <a:rPr lang="en-IN" sz="2000" b="1" dirty="0" smtClean="0">
                <a:solidFill>
                  <a:schemeClr val="tx1"/>
                </a:solidFill>
              </a:rPr>
              <a:t>Get a directory listing of the user’s home directory in HDFS</a:t>
            </a:r>
          </a:p>
          <a:p>
            <a:pPr marL="233363" indent="-233363">
              <a:buNone/>
            </a:pPr>
            <a:r>
              <a:rPr lang="en-IN" sz="2200" b="1" dirty="0" smtClean="0">
                <a:solidFill>
                  <a:schemeClr val="tx1"/>
                </a:solidFill>
              </a:rPr>
              <a:t>	</a:t>
            </a:r>
          </a:p>
          <a:p>
            <a:pPr marL="233363" indent="-233363"/>
            <a:r>
              <a:rPr lang="en-IN" sz="2000" b="1" dirty="0" smtClean="0">
                <a:solidFill>
                  <a:schemeClr val="tx1"/>
                </a:solidFill>
              </a:rPr>
              <a:t>Get a directory listing of the HDFS root directory</a:t>
            </a:r>
          </a:p>
        </p:txBody>
      </p:sp>
      <p:sp>
        <p:nvSpPr>
          <p:cNvPr id="4" name="Rounded Rectangle 3"/>
          <p:cNvSpPr/>
          <p:nvPr/>
        </p:nvSpPr>
        <p:spPr bwMode="gray">
          <a:xfrm>
            <a:off x="566738" y="3330388"/>
            <a:ext cx="8154987" cy="381000"/>
          </a:xfrm>
          <a:prstGeom prst="round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dirty="0" err="1">
                <a:solidFill>
                  <a:schemeClr val="tx1"/>
                </a:solidFill>
              </a:rPr>
              <a:t>hadoop</a:t>
            </a:r>
            <a:r>
              <a:rPr lang="en-IN" sz="1100" dirty="0">
                <a:solidFill>
                  <a:schemeClr val="tx1"/>
                </a:solidFill>
              </a:rPr>
              <a:t> fs -</a:t>
            </a:r>
            <a:r>
              <a:rPr lang="en-IN" sz="1100" dirty="0" err="1">
                <a:solidFill>
                  <a:schemeClr val="tx1"/>
                </a:solidFill>
              </a:rPr>
              <a:t>ls</a:t>
            </a:r>
            <a:endParaRPr lang="en-IN" sz="1100" dirty="0">
              <a:solidFill>
                <a:schemeClr val="tx1"/>
              </a:solidFill>
            </a:endParaRPr>
          </a:p>
        </p:txBody>
      </p:sp>
      <p:sp>
        <p:nvSpPr>
          <p:cNvPr id="6" name="Rounded Rectangle 5"/>
          <p:cNvSpPr/>
          <p:nvPr/>
        </p:nvSpPr>
        <p:spPr bwMode="gray">
          <a:xfrm>
            <a:off x="566738" y="4490085"/>
            <a:ext cx="8154987" cy="381000"/>
          </a:xfrm>
          <a:prstGeom prst="round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dirty="0" err="1">
                <a:solidFill>
                  <a:schemeClr val="tx1"/>
                </a:solidFill>
              </a:rPr>
              <a:t>hadoop</a:t>
            </a:r>
            <a:r>
              <a:rPr lang="en-IN" sz="1100" dirty="0">
                <a:solidFill>
                  <a:schemeClr val="tx1"/>
                </a:solidFill>
              </a:rPr>
              <a:t> fs –</a:t>
            </a:r>
            <a:r>
              <a:rPr lang="en-IN" sz="1100" dirty="0" err="1">
                <a:solidFill>
                  <a:schemeClr val="tx1"/>
                </a:solidFill>
              </a:rPr>
              <a:t>ls</a:t>
            </a:r>
            <a:r>
              <a:rPr lang="en-IN" sz="1100" dirty="0">
                <a:solidFill>
                  <a:schemeClr val="tx1"/>
                </a:solidFill>
              </a:rPr>
              <a:t> /</a:t>
            </a:r>
          </a:p>
        </p:txBody>
      </p:sp>
      <p:sp>
        <p:nvSpPr>
          <p:cNvPr id="8" name="Rounded Rectangle 7"/>
          <p:cNvSpPr/>
          <p:nvPr/>
        </p:nvSpPr>
        <p:spPr bwMode="gray">
          <a:xfrm>
            <a:off x="566738" y="1876639"/>
            <a:ext cx="8154987" cy="381000"/>
          </a:xfrm>
          <a:prstGeom prst="round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dirty="0" err="1">
                <a:solidFill>
                  <a:schemeClr val="tx1"/>
                </a:solidFill>
              </a:rPr>
              <a:t>hadoop</a:t>
            </a:r>
            <a:r>
              <a:rPr lang="en-IN" sz="1100" dirty="0">
                <a:solidFill>
                  <a:schemeClr val="tx1"/>
                </a:solidFill>
              </a:rPr>
              <a:t> fs -</a:t>
            </a:r>
            <a:r>
              <a:rPr lang="en-IN" sz="1100" dirty="0" err="1">
                <a:solidFill>
                  <a:schemeClr val="tx1"/>
                </a:solidFill>
              </a:rPr>
              <a:t>copyFromLocal</a:t>
            </a:r>
            <a:r>
              <a:rPr lang="en-IN" sz="1100" dirty="0">
                <a:solidFill>
                  <a:schemeClr val="tx1"/>
                </a:solidFill>
              </a:rPr>
              <a:t> foo.txt foo.txt</a:t>
            </a:r>
          </a:p>
        </p:txBody>
      </p:sp>
    </p:spTree>
    <p:extLst>
      <p:ext uri="{BB962C8B-B14F-4D97-AF65-F5344CB8AC3E}">
        <p14:creationId xmlns:p14="http://schemas.microsoft.com/office/powerpoint/2010/main" val="297413303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dirty="0" smtClean="0"/>
              <a:t>Introduction</a:t>
            </a:r>
            <a:endParaRPr lang="en-IN" dirty="0"/>
          </a:p>
        </p:txBody>
      </p:sp>
      <p:sp>
        <p:nvSpPr>
          <p:cNvPr id="3" name="Content Placeholder 2"/>
          <p:cNvSpPr>
            <a:spLocks noGrp="1"/>
          </p:cNvSpPr>
          <p:nvPr>
            <p:ph idx="4294967295"/>
          </p:nvPr>
        </p:nvSpPr>
        <p:spPr bwMode="gray">
          <a:xfrm>
            <a:off x="566062" y="2332344"/>
            <a:ext cx="8273138" cy="2113399"/>
          </a:xfrm>
          <a:prstGeom prst="rect">
            <a:avLst/>
          </a:prstGeom>
        </p:spPr>
        <p:txBody>
          <a:bodyPr wrap="square" lIns="0" tIns="0" rIns="0" bIns="0">
            <a:spAutoFit/>
          </a:bodyPr>
          <a:lstStyle/>
          <a:p>
            <a:pPr>
              <a:spcBef>
                <a:spcPts val="800"/>
              </a:spcBef>
            </a:pPr>
            <a:r>
              <a:rPr lang="en-IN" sz="1800" dirty="0" smtClean="0">
                <a:solidFill>
                  <a:schemeClr val="tx1"/>
                </a:solidFill>
              </a:rPr>
              <a:t>Big Data</a:t>
            </a:r>
          </a:p>
          <a:p>
            <a:pPr>
              <a:spcBef>
                <a:spcPts val="800"/>
              </a:spcBef>
            </a:pPr>
            <a:r>
              <a:rPr lang="en-IN" sz="1800" dirty="0" smtClean="0">
                <a:solidFill>
                  <a:schemeClr val="tx1"/>
                </a:solidFill>
              </a:rPr>
              <a:t>Map Reduce</a:t>
            </a:r>
          </a:p>
          <a:p>
            <a:pPr>
              <a:spcBef>
                <a:spcPts val="800"/>
              </a:spcBef>
            </a:pPr>
            <a:r>
              <a:rPr lang="en-IN" sz="1800" dirty="0" smtClean="0">
                <a:solidFill>
                  <a:schemeClr val="tx1"/>
                </a:solidFill>
              </a:rPr>
              <a:t>Hadoop</a:t>
            </a:r>
          </a:p>
          <a:p>
            <a:pPr lvl="1">
              <a:spcBef>
                <a:spcPts val="800"/>
              </a:spcBef>
              <a:buClr>
                <a:schemeClr val="bg2"/>
              </a:buClr>
              <a:buSzPct val="125000"/>
              <a:buFont typeface="Arial" panose="020B0604020202020204" pitchFamily="34" charset="0"/>
              <a:buChar char="›"/>
            </a:pPr>
            <a:r>
              <a:rPr lang="en-IN" sz="1600" dirty="0" smtClean="0">
                <a:solidFill>
                  <a:schemeClr val="tx1"/>
                </a:solidFill>
              </a:rPr>
              <a:t>Components</a:t>
            </a:r>
          </a:p>
          <a:p>
            <a:pPr lvl="1">
              <a:spcBef>
                <a:spcPts val="800"/>
              </a:spcBef>
              <a:buClr>
                <a:schemeClr val="bg2"/>
              </a:buClr>
              <a:buSzPct val="125000"/>
              <a:buFont typeface="Arial" panose="020B0604020202020204" pitchFamily="34" charset="0"/>
              <a:buChar char="›"/>
            </a:pPr>
            <a:r>
              <a:rPr lang="en-IN" sz="1600" dirty="0" smtClean="0">
                <a:solidFill>
                  <a:schemeClr val="tx1"/>
                </a:solidFill>
              </a:rPr>
              <a:t>Working</a:t>
            </a:r>
            <a:endParaRPr lang="en-IN" sz="1600" dirty="0">
              <a:solidFill>
                <a:schemeClr val="tx1"/>
              </a:solidFill>
            </a:endParaRPr>
          </a:p>
          <a:p>
            <a:pPr>
              <a:spcBef>
                <a:spcPts val="800"/>
              </a:spcBef>
            </a:pPr>
            <a:r>
              <a:rPr lang="en-IN" sz="1800" dirty="0" smtClean="0">
                <a:solidFill>
                  <a:schemeClr val="tx1"/>
                </a:solidFill>
              </a:rPr>
              <a:t>Hands-on: Simple exercises</a:t>
            </a:r>
          </a:p>
        </p:txBody>
      </p:sp>
    </p:spTree>
    <p:extLst>
      <p:ext uri="{BB962C8B-B14F-4D97-AF65-F5344CB8AC3E}">
        <p14:creationId xmlns:p14="http://schemas.microsoft.com/office/powerpoint/2010/main" val="403318476"/>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hadoop fs Examples (cont’d)</a:t>
            </a:r>
            <a:endParaRPr lang="en-IN" dirty="0"/>
          </a:p>
        </p:txBody>
      </p:sp>
      <p:sp>
        <p:nvSpPr>
          <p:cNvPr id="3" name="Content Placeholder 2"/>
          <p:cNvSpPr>
            <a:spLocks noGrp="1"/>
          </p:cNvSpPr>
          <p:nvPr>
            <p:ph type="body" sz="quarter" idx="10"/>
          </p:nvPr>
        </p:nvSpPr>
        <p:spPr bwMode="gray">
          <a:xfrm>
            <a:off x="563530" y="1651577"/>
            <a:ext cx="6286914" cy="3823483"/>
          </a:xfrm>
        </p:spPr>
        <p:txBody>
          <a:bodyPr wrap="none" lIns="0" tIns="0" rIns="0" bIns="0">
            <a:spAutoFit/>
          </a:bodyPr>
          <a:lstStyle/>
          <a:p>
            <a:pPr marL="233363" indent="-233363">
              <a:spcBef>
                <a:spcPts val="6000"/>
              </a:spcBef>
            </a:pPr>
            <a:r>
              <a:rPr lang="en-IN" sz="1800" b="1" dirty="0" smtClean="0">
                <a:solidFill>
                  <a:schemeClr val="tx1"/>
                </a:solidFill>
              </a:rPr>
              <a:t>Display the contents of the HDFS file /user/</a:t>
            </a:r>
            <a:r>
              <a:rPr lang="en-IN" sz="1800" b="1" dirty="0" err="1" smtClean="0">
                <a:solidFill>
                  <a:schemeClr val="tx1"/>
                </a:solidFill>
              </a:rPr>
              <a:t>fred</a:t>
            </a:r>
            <a:r>
              <a:rPr lang="en-IN" sz="1800" b="1" dirty="0" smtClean="0">
                <a:solidFill>
                  <a:schemeClr val="tx1"/>
                </a:solidFill>
              </a:rPr>
              <a:t>/bar.txt	</a:t>
            </a:r>
          </a:p>
          <a:p>
            <a:pPr marL="233363" indent="-233363">
              <a:spcBef>
                <a:spcPts val="6000"/>
              </a:spcBef>
            </a:pPr>
            <a:r>
              <a:rPr lang="en-IN" sz="1800" b="1" dirty="0" smtClean="0">
                <a:solidFill>
                  <a:schemeClr val="tx1"/>
                </a:solidFill>
              </a:rPr>
              <a:t>Move that file to the local disk, named as baz.txt</a:t>
            </a:r>
          </a:p>
          <a:p>
            <a:pPr marL="233363" indent="-233363">
              <a:spcBef>
                <a:spcPts val="6000"/>
              </a:spcBef>
            </a:pPr>
            <a:r>
              <a:rPr lang="en-IN" sz="1800" b="1" dirty="0" smtClean="0">
                <a:solidFill>
                  <a:schemeClr val="tx1"/>
                </a:solidFill>
              </a:rPr>
              <a:t>Create a directory called input under the user’s home directory</a:t>
            </a:r>
          </a:p>
          <a:p>
            <a:pPr marL="233363" indent="-233363">
              <a:spcBef>
                <a:spcPts val="6000"/>
              </a:spcBef>
            </a:pPr>
            <a:r>
              <a:rPr lang="en-IN" sz="1800" b="1" dirty="0" smtClean="0">
                <a:solidFill>
                  <a:schemeClr val="tx1"/>
                </a:solidFill>
              </a:rPr>
              <a:t>Delete the directory </a:t>
            </a:r>
            <a:r>
              <a:rPr lang="en-IN" sz="1800" b="1" dirty="0" err="1" smtClean="0">
                <a:solidFill>
                  <a:schemeClr val="tx1"/>
                </a:solidFill>
              </a:rPr>
              <a:t>input_old</a:t>
            </a:r>
            <a:r>
              <a:rPr lang="en-IN" sz="1800" b="1" dirty="0" smtClean="0">
                <a:solidFill>
                  <a:schemeClr val="tx1"/>
                </a:solidFill>
              </a:rPr>
              <a:t> and all its contents</a:t>
            </a:r>
          </a:p>
        </p:txBody>
      </p:sp>
      <p:sp>
        <p:nvSpPr>
          <p:cNvPr id="4" name="Rounded Rectangle 3"/>
          <p:cNvSpPr/>
          <p:nvPr/>
        </p:nvSpPr>
        <p:spPr bwMode="gray">
          <a:xfrm>
            <a:off x="566737" y="3193053"/>
            <a:ext cx="8154987" cy="381000"/>
          </a:xfrm>
          <a:prstGeom prst="round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dirty="0" err="1">
                <a:solidFill>
                  <a:schemeClr val="tx1"/>
                </a:solidFill>
              </a:rPr>
              <a:t>hadoop</a:t>
            </a:r>
            <a:r>
              <a:rPr lang="en-IN" sz="1100" dirty="0">
                <a:solidFill>
                  <a:schemeClr val="tx1"/>
                </a:solidFill>
              </a:rPr>
              <a:t> fs –</a:t>
            </a:r>
            <a:r>
              <a:rPr lang="en-IN" sz="1100" dirty="0" err="1">
                <a:solidFill>
                  <a:schemeClr val="tx1"/>
                </a:solidFill>
              </a:rPr>
              <a:t>copyToLocal</a:t>
            </a:r>
            <a:r>
              <a:rPr lang="en-IN" sz="1100" dirty="0">
                <a:solidFill>
                  <a:schemeClr val="tx1"/>
                </a:solidFill>
              </a:rPr>
              <a:t> /user/</a:t>
            </a:r>
            <a:r>
              <a:rPr lang="en-IN" sz="1100" dirty="0" err="1">
                <a:solidFill>
                  <a:schemeClr val="tx1"/>
                </a:solidFill>
              </a:rPr>
              <a:t>fred</a:t>
            </a:r>
            <a:r>
              <a:rPr lang="en-IN" sz="1100" dirty="0">
                <a:solidFill>
                  <a:schemeClr val="tx1"/>
                </a:solidFill>
              </a:rPr>
              <a:t>/bar.txt baz.txt</a:t>
            </a:r>
          </a:p>
        </p:txBody>
      </p:sp>
      <p:sp>
        <p:nvSpPr>
          <p:cNvPr id="6" name="Rounded Rectangle 5"/>
          <p:cNvSpPr/>
          <p:nvPr/>
        </p:nvSpPr>
        <p:spPr bwMode="gray">
          <a:xfrm>
            <a:off x="566737" y="4360852"/>
            <a:ext cx="8154987" cy="381000"/>
          </a:xfrm>
          <a:prstGeom prst="round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dirty="0" err="1">
                <a:solidFill>
                  <a:schemeClr val="tx1"/>
                </a:solidFill>
              </a:rPr>
              <a:t>hadoop</a:t>
            </a:r>
            <a:r>
              <a:rPr lang="en-IN" sz="1100" dirty="0">
                <a:solidFill>
                  <a:schemeClr val="tx1"/>
                </a:solidFill>
              </a:rPr>
              <a:t> fs –</a:t>
            </a:r>
            <a:r>
              <a:rPr lang="en-IN" sz="1100" dirty="0" err="1">
                <a:solidFill>
                  <a:schemeClr val="tx1"/>
                </a:solidFill>
              </a:rPr>
              <a:t>mkdir</a:t>
            </a:r>
            <a:r>
              <a:rPr lang="en-IN" sz="1100" dirty="0">
                <a:solidFill>
                  <a:schemeClr val="tx1"/>
                </a:solidFill>
              </a:rPr>
              <a:t> input</a:t>
            </a:r>
          </a:p>
        </p:txBody>
      </p:sp>
      <p:sp>
        <p:nvSpPr>
          <p:cNvPr id="8" name="Rounded Rectangle 7"/>
          <p:cNvSpPr/>
          <p:nvPr/>
        </p:nvSpPr>
        <p:spPr bwMode="gray">
          <a:xfrm>
            <a:off x="566737" y="2056759"/>
            <a:ext cx="8154987" cy="381000"/>
          </a:xfrm>
          <a:prstGeom prst="round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dirty="0" err="1">
                <a:solidFill>
                  <a:schemeClr val="tx1"/>
                </a:solidFill>
              </a:rPr>
              <a:t>hadoop</a:t>
            </a:r>
            <a:r>
              <a:rPr lang="en-IN" sz="1100" dirty="0">
                <a:solidFill>
                  <a:schemeClr val="tx1"/>
                </a:solidFill>
              </a:rPr>
              <a:t> fs –cat /user/</a:t>
            </a:r>
            <a:r>
              <a:rPr lang="en-IN" sz="1100" dirty="0" err="1">
                <a:solidFill>
                  <a:schemeClr val="tx1"/>
                </a:solidFill>
              </a:rPr>
              <a:t>fred</a:t>
            </a:r>
            <a:r>
              <a:rPr lang="en-IN" sz="1100" dirty="0">
                <a:solidFill>
                  <a:schemeClr val="tx1"/>
                </a:solidFill>
              </a:rPr>
              <a:t>/bar.txt</a:t>
            </a:r>
          </a:p>
        </p:txBody>
      </p:sp>
      <p:sp>
        <p:nvSpPr>
          <p:cNvPr id="7" name="Rounded Rectangle 6"/>
          <p:cNvSpPr/>
          <p:nvPr/>
        </p:nvSpPr>
        <p:spPr bwMode="gray">
          <a:xfrm>
            <a:off x="566737" y="5495245"/>
            <a:ext cx="8154987" cy="381000"/>
          </a:xfrm>
          <a:prstGeom prst="round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dirty="0" err="1">
                <a:solidFill>
                  <a:schemeClr val="tx1"/>
                </a:solidFill>
              </a:rPr>
              <a:t>hadoop</a:t>
            </a:r>
            <a:r>
              <a:rPr lang="en-IN" sz="1100" dirty="0">
                <a:solidFill>
                  <a:schemeClr val="tx1"/>
                </a:solidFill>
              </a:rPr>
              <a:t> fs –</a:t>
            </a:r>
            <a:r>
              <a:rPr lang="en-IN" sz="1100" dirty="0" err="1">
                <a:solidFill>
                  <a:schemeClr val="tx1"/>
                </a:solidFill>
              </a:rPr>
              <a:t>rmr</a:t>
            </a:r>
            <a:r>
              <a:rPr lang="en-IN" sz="1100" dirty="0">
                <a:solidFill>
                  <a:schemeClr val="tx1"/>
                </a:solidFill>
              </a:rPr>
              <a:t> </a:t>
            </a:r>
            <a:r>
              <a:rPr lang="en-IN" sz="1100" dirty="0" err="1">
                <a:solidFill>
                  <a:schemeClr val="tx1"/>
                </a:solidFill>
              </a:rPr>
              <a:t>input_old</a:t>
            </a:r>
            <a:endParaRPr lang="en-IN" sz="1100" dirty="0">
              <a:solidFill>
                <a:schemeClr val="tx1"/>
              </a:solidFill>
            </a:endParaRPr>
          </a:p>
        </p:txBody>
      </p:sp>
    </p:spTree>
    <p:extLst>
      <p:ext uri="{BB962C8B-B14F-4D97-AF65-F5344CB8AC3E}">
        <p14:creationId xmlns:p14="http://schemas.microsoft.com/office/powerpoint/2010/main" val="791353543"/>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What Is MapReduce?</a:t>
            </a:r>
            <a:endParaRPr lang="en-IN" dirty="0"/>
          </a:p>
        </p:txBody>
      </p:sp>
      <p:sp>
        <p:nvSpPr>
          <p:cNvPr id="3" name="Content Placeholder 2"/>
          <p:cNvSpPr>
            <a:spLocks noGrp="1"/>
          </p:cNvSpPr>
          <p:nvPr>
            <p:ph type="body" sz="quarter" idx="10"/>
          </p:nvPr>
        </p:nvSpPr>
        <p:spPr bwMode="gray">
          <a:xfrm>
            <a:off x="563530" y="1981200"/>
            <a:ext cx="7396064" cy="2523768"/>
          </a:xfrm>
        </p:spPr>
        <p:txBody>
          <a:bodyPr wrap="none" lIns="0" tIns="0" rIns="0" bIns="0">
            <a:spAutoFit/>
          </a:bodyPr>
          <a:lstStyle/>
          <a:p>
            <a:pPr marL="233363" indent="-233363">
              <a:lnSpc>
                <a:spcPct val="100000"/>
              </a:lnSpc>
              <a:spcBef>
                <a:spcPts val="1200"/>
              </a:spcBef>
            </a:pPr>
            <a:r>
              <a:rPr lang="en-IN" sz="2000" dirty="0" err="1" smtClean="0">
                <a:solidFill>
                  <a:schemeClr val="tx1"/>
                </a:solidFill>
              </a:rPr>
              <a:t>MapReduce</a:t>
            </a:r>
            <a:r>
              <a:rPr lang="en-IN" sz="2000" dirty="0" smtClean="0">
                <a:solidFill>
                  <a:schemeClr val="tx1"/>
                </a:solidFill>
              </a:rPr>
              <a:t> is a method for distributing a task across multiple Nodes</a:t>
            </a:r>
          </a:p>
          <a:p>
            <a:pPr marL="233363" indent="-233363">
              <a:lnSpc>
                <a:spcPct val="100000"/>
              </a:lnSpc>
              <a:spcBef>
                <a:spcPts val="1200"/>
              </a:spcBef>
            </a:pPr>
            <a:r>
              <a:rPr lang="en-IN" sz="2000" dirty="0" smtClean="0">
                <a:solidFill>
                  <a:schemeClr val="tx1"/>
                </a:solidFill>
              </a:rPr>
              <a:t>Each node processes data stored on that node</a:t>
            </a:r>
          </a:p>
          <a:p>
            <a:pPr marL="457200" lvl="1" indent="-233363">
              <a:spcBef>
                <a:spcPts val="1200"/>
              </a:spcBef>
            </a:pPr>
            <a:r>
              <a:rPr lang="en-IN" sz="1800" dirty="0" smtClean="0"/>
              <a:t>Where </a:t>
            </a:r>
            <a:r>
              <a:rPr lang="en-IN" sz="1800" dirty="0"/>
              <a:t>possible</a:t>
            </a:r>
          </a:p>
          <a:p>
            <a:pPr marL="233363" indent="-233363">
              <a:lnSpc>
                <a:spcPct val="100000"/>
              </a:lnSpc>
              <a:spcBef>
                <a:spcPts val="1200"/>
              </a:spcBef>
            </a:pPr>
            <a:r>
              <a:rPr lang="en-IN" sz="2000" dirty="0" smtClean="0">
                <a:solidFill>
                  <a:schemeClr val="tx1"/>
                </a:solidFill>
              </a:rPr>
              <a:t>Consists of two phases:</a:t>
            </a:r>
          </a:p>
          <a:p>
            <a:pPr marL="457200" lvl="1" indent="-233363">
              <a:spcBef>
                <a:spcPts val="1200"/>
              </a:spcBef>
            </a:pPr>
            <a:r>
              <a:rPr lang="en-IN" sz="1800" dirty="0" smtClean="0"/>
              <a:t>Map</a:t>
            </a:r>
            <a:endParaRPr lang="en-IN" sz="1800" dirty="0"/>
          </a:p>
          <a:p>
            <a:pPr marL="457200" lvl="1" indent="-233363">
              <a:spcBef>
                <a:spcPts val="1200"/>
              </a:spcBef>
            </a:pPr>
            <a:r>
              <a:rPr lang="en-IN" sz="1800" dirty="0" smtClean="0"/>
              <a:t>Reduce</a:t>
            </a:r>
            <a:endParaRPr lang="en-IN" sz="1800" dirty="0"/>
          </a:p>
        </p:txBody>
      </p:sp>
    </p:spTree>
    <p:extLst>
      <p:ext uri="{BB962C8B-B14F-4D97-AF65-F5344CB8AC3E}">
        <p14:creationId xmlns:p14="http://schemas.microsoft.com/office/powerpoint/2010/main" val="373871927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Features of MapReduce</a:t>
            </a:r>
            <a:endParaRPr lang="en-IN" dirty="0"/>
          </a:p>
        </p:txBody>
      </p:sp>
      <p:sp>
        <p:nvSpPr>
          <p:cNvPr id="3" name="Content Placeholder 2"/>
          <p:cNvSpPr>
            <a:spLocks noGrp="1"/>
          </p:cNvSpPr>
          <p:nvPr>
            <p:ph type="body" sz="quarter" idx="10"/>
          </p:nvPr>
        </p:nvSpPr>
        <p:spPr bwMode="gray">
          <a:xfrm>
            <a:off x="563530" y="1619678"/>
            <a:ext cx="7800212" cy="3672800"/>
          </a:xfrm>
        </p:spPr>
        <p:txBody>
          <a:bodyPr wrap="none" lIns="0" tIns="0" rIns="0" bIns="0">
            <a:spAutoFit/>
          </a:bodyPr>
          <a:lstStyle/>
          <a:p>
            <a:pPr marL="233363" indent="-233363">
              <a:lnSpc>
                <a:spcPct val="100000"/>
              </a:lnSpc>
              <a:spcBef>
                <a:spcPts val="1200"/>
              </a:spcBef>
            </a:pPr>
            <a:r>
              <a:rPr lang="en-IN" sz="2000" dirty="0" smtClean="0">
                <a:solidFill>
                  <a:schemeClr val="tx1"/>
                </a:solidFill>
              </a:rPr>
              <a:t>Automatic parallelization and distribution</a:t>
            </a:r>
          </a:p>
          <a:p>
            <a:pPr marL="233363" indent="-233363">
              <a:lnSpc>
                <a:spcPct val="100000"/>
              </a:lnSpc>
              <a:spcBef>
                <a:spcPts val="1200"/>
              </a:spcBef>
            </a:pPr>
            <a:r>
              <a:rPr lang="en-IN" sz="2000" dirty="0" smtClean="0">
                <a:solidFill>
                  <a:schemeClr val="tx1"/>
                </a:solidFill>
              </a:rPr>
              <a:t>Fault-tolerance</a:t>
            </a:r>
          </a:p>
          <a:p>
            <a:pPr marL="233363" indent="-233363">
              <a:lnSpc>
                <a:spcPct val="100000"/>
              </a:lnSpc>
              <a:spcBef>
                <a:spcPts val="1200"/>
              </a:spcBef>
            </a:pPr>
            <a:r>
              <a:rPr lang="en-IN" sz="2000" dirty="0" smtClean="0">
                <a:solidFill>
                  <a:schemeClr val="tx1"/>
                </a:solidFill>
              </a:rPr>
              <a:t>Status and monitoring tools</a:t>
            </a:r>
          </a:p>
          <a:p>
            <a:pPr marL="233363" indent="-233363">
              <a:lnSpc>
                <a:spcPct val="100000"/>
              </a:lnSpc>
              <a:spcBef>
                <a:spcPts val="1200"/>
              </a:spcBef>
            </a:pPr>
            <a:r>
              <a:rPr lang="en-IN" sz="2000" dirty="0" smtClean="0">
                <a:solidFill>
                  <a:schemeClr val="tx1"/>
                </a:solidFill>
              </a:rPr>
              <a:t> A clean abstraction for programmers</a:t>
            </a:r>
          </a:p>
          <a:p>
            <a:pPr marL="457200" lvl="1" indent="-223838">
              <a:spcBef>
                <a:spcPts val="800"/>
              </a:spcBef>
            </a:pPr>
            <a:r>
              <a:rPr lang="en-IN" sz="1800" dirty="0" err="1" smtClean="0"/>
              <a:t>MapReduce</a:t>
            </a:r>
            <a:r>
              <a:rPr lang="en-IN" sz="1800" dirty="0" smtClean="0"/>
              <a:t> </a:t>
            </a:r>
            <a:r>
              <a:rPr lang="en-IN" sz="1800" dirty="0"/>
              <a:t>programs are usually written in Java</a:t>
            </a:r>
          </a:p>
          <a:p>
            <a:pPr marL="457200" lvl="1" indent="-223838">
              <a:spcBef>
                <a:spcPts val="800"/>
              </a:spcBef>
            </a:pPr>
            <a:r>
              <a:rPr lang="en-IN" sz="1800" dirty="0" smtClean="0"/>
              <a:t>Can </a:t>
            </a:r>
            <a:r>
              <a:rPr lang="en-IN" sz="1800" dirty="0"/>
              <a:t>be written in any scripting language using  Hadoop Streaming</a:t>
            </a:r>
          </a:p>
          <a:p>
            <a:pPr marL="457200" lvl="1" indent="-223838">
              <a:spcBef>
                <a:spcPts val="800"/>
              </a:spcBef>
            </a:pPr>
            <a:r>
              <a:rPr lang="en-IN" sz="1800" dirty="0" smtClean="0"/>
              <a:t>All </a:t>
            </a:r>
            <a:r>
              <a:rPr lang="en-IN" sz="1800" dirty="0"/>
              <a:t>of Hadoop is written in Java</a:t>
            </a:r>
          </a:p>
          <a:p>
            <a:pPr marL="233363" indent="-233363">
              <a:lnSpc>
                <a:spcPct val="100000"/>
              </a:lnSpc>
              <a:spcBef>
                <a:spcPts val="1200"/>
              </a:spcBef>
            </a:pPr>
            <a:r>
              <a:rPr lang="en-IN" sz="2000" dirty="0" err="1" smtClean="0">
                <a:solidFill>
                  <a:schemeClr val="tx1"/>
                </a:solidFill>
              </a:rPr>
              <a:t>MapReduce</a:t>
            </a:r>
            <a:r>
              <a:rPr lang="en-IN" sz="2000" dirty="0" smtClean="0">
                <a:solidFill>
                  <a:schemeClr val="tx1"/>
                </a:solidFill>
              </a:rPr>
              <a:t> abstracts all the ‘housekeeping’ away from the developer</a:t>
            </a:r>
          </a:p>
          <a:p>
            <a:pPr marL="457200" lvl="1" indent="-223838">
              <a:spcBef>
                <a:spcPts val="800"/>
              </a:spcBef>
            </a:pPr>
            <a:r>
              <a:rPr lang="en-IN" sz="1800" dirty="0" smtClean="0"/>
              <a:t>Developer </a:t>
            </a:r>
            <a:r>
              <a:rPr lang="en-IN" sz="1800" dirty="0"/>
              <a:t>can concentrate simply on writing the Map and Reduce 	functions</a:t>
            </a:r>
          </a:p>
        </p:txBody>
      </p:sp>
    </p:spTree>
    <p:extLst>
      <p:ext uri="{BB962C8B-B14F-4D97-AF65-F5344CB8AC3E}">
        <p14:creationId xmlns:p14="http://schemas.microsoft.com/office/powerpoint/2010/main" val="381022432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MapReduce: The Big Picture</a:t>
            </a:r>
            <a:endParaRPr lang="en-IN" dirty="0"/>
          </a:p>
        </p:txBody>
      </p:sp>
      <p:pic>
        <p:nvPicPr>
          <p:cNvPr id="1026" name="Picture 2"/>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bwMode="gray">
          <a:xfrm>
            <a:off x="191386" y="1143000"/>
            <a:ext cx="8839200" cy="52045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8337020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MapReduce: The JobTracker</a:t>
            </a:r>
            <a:endParaRPr lang="en-IN" dirty="0"/>
          </a:p>
        </p:txBody>
      </p:sp>
      <p:sp>
        <p:nvSpPr>
          <p:cNvPr id="3" name="Content Placeholder 2"/>
          <p:cNvSpPr>
            <a:spLocks noGrp="1"/>
          </p:cNvSpPr>
          <p:nvPr>
            <p:ph type="body" sz="quarter" idx="10"/>
          </p:nvPr>
        </p:nvSpPr>
        <p:spPr bwMode="gray">
          <a:xfrm>
            <a:off x="563530" y="1981200"/>
            <a:ext cx="8275670" cy="2872581"/>
          </a:xfrm>
        </p:spPr>
        <p:txBody>
          <a:bodyPr wrap="square" lIns="0" tIns="0" rIns="0" bIns="0">
            <a:spAutoFit/>
          </a:bodyPr>
          <a:lstStyle/>
          <a:p>
            <a:pPr marL="233363" indent="-233363">
              <a:lnSpc>
                <a:spcPct val="100000"/>
              </a:lnSpc>
              <a:spcBef>
                <a:spcPts val="1200"/>
              </a:spcBef>
            </a:pPr>
            <a:r>
              <a:rPr lang="en-IN" sz="2000" dirty="0" err="1" smtClean="0">
                <a:solidFill>
                  <a:schemeClr val="tx1"/>
                </a:solidFill>
              </a:rPr>
              <a:t>MapReduce</a:t>
            </a:r>
            <a:r>
              <a:rPr lang="en-IN" sz="2000" dirty="0" smtClean="0">
                <a:solidFill>
                  <a:schemeClr val="tx1"/>
                </a:solidFill>
              </a:rPr>
              <a:t> jobs are controlled by a software daemon known as the </a:t>
            </a:r>
            <a:r>
              <a:rPr lang="en-IN" sz="2000" dirty="0" err="1" smtClean="0">
                <a:solidFill>
                  <a:schemeClr val="tx1"/>
                </a:solidFill>
              </a:rPr>
              <a:t>JobTracker</a:t>
            </a:r>
            <a:endParaRPr lang="en-IN" sz="2000" dirty="0" smtClean="0">
              <a:solidFill>
                <a:schemeClr val="tx1"/>
              </a:solidFill>
            </a:endParaRPr>
          </a:p>
          <a:p>
            <a:pPr marL="233363" indent="-233363">
              <a:lnSpc>
                <a:spcPct val="100000"/>
              </a:lnSpc>
              <a:spcBef>
                <a:spcPts val="1200"/>
              </a:spcBef>
            </a:pPr>
            <a:r>
              <a:rPr lang="en-IN" sz="2000" dirty="0" smtClean="0">
                <a:solidFill>
                  <a:schemeClr val="tx1"/>
                </a:solidFill>
              </a:rPr>
              <a:t>The </a:t>
            </a:r>
            <a:r>
              <a:rPr lang="en-IN" sz="2000" dirty="0" err="1" smtClean="0">
                <a:solidFill>
                  <a:schemeClr val="tx1"/>
                </a:solidFill>
              </a:rPr>
              <a:t>JobTracker</a:t>
            </a:r>
            <a:r>
              <a:rPr lang="en-IN" sz="2000" dirty="0" smtClean="0">
                <a:solidFill>
                  <a:schemeClr val="tx1"/>
                </a:solidFill>
              </a:rPr>
              <a:t> resides on a ‘master node’</a:t>
            </a:r>
          </a:p>
          <a:p>
            <a:pPr marL="457200" lvl="1" indent="-236538">
              <a:spcBef>
                <a:spcPts val="800"/>
              </a:spcBef>
            </a:pPr>
            <a:r>
              <a:rPr lang="en-IN" sz="1800" dirty="0" smtClean="0"/>
              <a:t>Clients submit </a:t>
            </a:r>
            <a:r>
              <a:rPr lang="en-IN" sz="1800" dirty="0" err="1" smtClean="0"/>
              <a:t>MapReduce</a:t>
            </a:r>
            <a:r>
              <a:rPr lang="en-IN" sz="1800" dirty="0" smtClean="0"/>
              <a:t> jobs to the </a:t>
            </a:r>
            <a:r>
              <a:rPr lang="en-IN" sz="1800" dirty="0" err="1" smtClean="0"/>
              <a:t>JobTracker</a:t>
            </a:r>
            <a:endParaRPr lang="en-IN" sz="1800" dirty="0" smtClean="0"/>
          </a:p>
          <a:p>
            <a:pPr marL="457200" lvl="1" indent="-236538">
              <a:spcBef>
                <a:spcPts val="800"/>
              </a:spcBef>
            </a:pPr>
            <a:r>
              <a:rPr lang="en-IN" sz="1800" dirty="0" smtClean="0"/>
              <a:t>The </a:t>
            </a:r>
            <a:r>
              <a:rPr lang="en-IN" sz="1800" dirty="0" err="1" smtClean="0"/>
              <a:t>JobTracker</a:t>
            </a:r>
            <a:r>
              <a:rPr lang="en-IN" sz="1800" dirty="0" smtClean="0"/>
              <a:t> assigns Map and Reduce tasks to other nodes on the cluster</a:t>
            </a:r>
          </a:p>
          <a:p>
            <a:pPr marL="457200" lvl="1" indent="-236538">
              <a:spcBef>
                <a:spcPts val="800"/>
              </a:spcBef>
            </a:pPr>
            <a:r>
              <a:rPr lang="en-IN" sz="1800" dirty="0" smtClean="0"/>
              <a:t>These nodes each run a software daemon known as the </a:t>
            </a:r>
            <a:r>
              <a:rPr lang="en-IN" sz="1800" dirty="0" err="1" smtClean="0"/>
              <a:t>TaskTracker</a:t>
            </a:r>
            <a:endParaRPr lang="en-IN" sz="1800" dirty="0" smtClean="0"/>
          </a:p>
          <a:p>
            <a:pPr marL="457200" lvl="1" indent="-236538">
              <a:spcBef>
                <a:spcPts val="800"/>
              </a:spcBef>
            </a:pPr>
            <a:r>
              <a:rPr lang="en-IN" sz="1800" dirty="0" smtClean="0"/>
              <a:t>The </a:t>
            </a:r>
            <a:r>
              <a:rPr lang="en-IN" sz="1800" dirty="0" err="1" smtClean="0"/>
              <a:t>TaskTracker</a:t>
            </a:r>
            <a:r>
              <a:rPr lang="en-IN" sz="1800" dirty="0" smtClean="0"/>
              <a:t> is responsible for actually instantiating the Map or Reduce task, and reporting progress back to the </a:t>
            </a:r>
            <a:r>
              <a:rPr lang="en-IN" sz="1800" dirty="0" err="1" smtClean="0"/>
              <a:t>JobTracker</a:t>
            </a:r>
            <a:endParaRPr lang="en-IN" sz="1800" dirty="0"/>
          </a:p>
        </p:txBody>
      </p:sp>
    </p:spTree>
    <p:extLst>
      <p:ext uri="{BB962C8B-B14F-4D97-AF65-F5344CB8AC3E}">
        <p14:creationId xmlns:p14="http://schemas.microsoft.com/office/powerpoint/2010/main" val="3248742390"/>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MapReduce: Terminology</a:t>
            </a:r>
            <a:endParaRPr lang="en-IN" dirty="0"/>
          </a:p>
        </p:txBody>
      </p:sp>
      <p:sp>
        <p:nvSpPr>
          <p:cNvPr id="3" name="Content Placeholder 2"/>
          <p:cNvSpPr>
            <a:spLocks noGrp="1"/>
          </p:cNvSpPr>
          <p:nvPr>
            <p:ph type="body" sz="quarter" idx="10"/>
          </p:nvPr>
        </p:nvSpPr>
        <p:spPr bwMode="gray">
          <a:xfrm>
            <a:off x="563530" y="1715375"/>
            <a:ext cx="8275670" cy="3108543"/>
          </a:xfrm>
        </p:spPr>
        <p:txBody>
          <a:bodyPr wrap="square" lIns="0" tIns="0" rIns="0" bIns="0">
            <a:spAutoFit/>
          </a:bodyPr>
          <a:lstStyle/>
          <a:p>
            <a:pPr marL="233363" indent="-233363">
              <a:lnSpc>
                <a:spcPct val="100000"/>
              </a:lnSpc>
              <a:spcBef>
                <a:spcPts val="1200"/>
              </a:spcBef>
            </a:pPr>
            <a:r>
              <a:rPr lang="en-IN" sz="2000" dirty="0" smtClean="0">
                <a:solidFill>
                  <a:schemeClr val="tx1"/>
                </a:solidFill>
              </a:rPr>
              <a:t>A job is a ‘full program’</a:t>
            </a:r>
          </a:p>
          <a:p>
            <a:pPr marL="233363" indent="-233363">
              <a:lnSpc>
                <a:spcPct val="100000"/>
              </a:lnSpc>
              <a:spcBef>
                <a:spcPts val="1200"/>
              </a:spcBef>
            </a:pPr>
            <a:r>
              <a:rPr lang="en-IN" sz="2000" dirty="0" smtClean="0">
                <a:solidFill>
                  <a:schemeClr val="tx1"/>
                </a:solidFill>
              </a:rPr>
              <a:t>A complete execution of Mappers and Reducers over a dataset</a:t>
            </a:r>
          </a:p>
          <a:p>
            <a:pPr marL="233363" indent="-233363">
              <a:lnSpc>
                <a:spcPct val="100000"/>
              </a:lnSpc>
              <a:spcBef>
                <a:spcPts val="1200"/>
              </a:spcBef>
            </a:pPr>
            <a:r>
              <a:rPr lang="en-IN" sz="2000" dirty="0" smtClean="0">
                <a:solidFill>
                  <a:schemeClr val="tx1"/>
                </a:solidFill>
              </a:rPr>
              <a:t>A task is the execution of a single Mapper or Reducer over a slice of data</a:t>
            </a:r>
          </a:p>
          <a:p>
            <a:pPr marL="233363" indent="-233363">
              <a:lnSpc>
                <a:spcPct val="100000"/>
              </a:lnSpc>
              <a:spcBef>
                <a:spcPts val="1200"/>
              </a:spcBef>
            </a:pPr>
            <a:r>
              <a:rPr lang="en-IN" sz="2000" dirty="0" smtClean="0">
                <a:solidFill>
                  <a:schemeClr val="tx1"/>
                </a:solidFill>
              </a:rPr>
              <a:t>A task attempt is a particular instance of an attempt to execute a task</a:t>
            </a:r>
          </a:p>
          <a:p>
            <a:pPr marL="457200" indent="-223838">
              <a:lnSpc>
                <a:spcPct val="100000"/>
              </a:lnSpc>
              <a:spcBef>
                <a:spcPts val="800"/>
              </a:spcBef>
              <a:buFont typeface="Arial" panose="020B0604020202020204" pitchFamily="34" charset="0"/>
              <a:buChar char="»"/>
            </a:pPr>
            <a:r>
              <a:rPr lang="en-IN" sz="1800" dirty="0" smtClean="0">
                <a:solidFill>
                  <a:schemeClr val="tx1"/>
                </a:solidFill>
              </a:rPr>
              <a:t>There will be at least as many task attempts as there are tasks</a:t>
            </a:r>
          </a:p>
          <a:p>
            <a:pPr marL="457200" indent="-223838">
              <a:lnSpc>
                <a:spcPct val="100000"/>
              </a:lnSpc>
              <a:spcBef>
                <a:spcPts val="800"/>
              </a:spcBef>
              <a:buFont typeface="Arial" panose="020B0604020202020204" pitchFamily="34" charset="0"/>
              <a:buChar char="»"/>
            </a:pPr>
            <a:r>
              <a:rPr lang="en-IN" sz="1800" dirty="0" smtClean="0">
                <a:solidFill>
                  <a:schemeClr val="tx1"/>
                </a:solidFill>
              </a:rPr>
              <a:t>If a task attempt fails, another will be started by the </a:t>
            </a:r>
            <a:r>
              <a:rPr lang="en-IN" sz="1800" dirty="0" err="1" smtClean="0">
                <a:solidFill>
                  <a:schemeClr val="tx1"/>
                </a:solidFill>
              </a:rPr>
              <a:t>JobTracker</a:t>
            </a:r>
            <a:r>
              <a:rPr lang="en-IN" sz="1800" dirty="0" smtClean="0">
                <a:solidFill>
                  <a:schemeClr val="tx1"/>
                </a:solidFill>
              </a:rPr>
              <a:t> </a:t>
            </a:r>
          </a:p>
          <a:p>
            <a:pPr marL="457200" indent="-223838">
              <a:lnSpc>
                <a:spcPct val="100000"/>
              </a:lnSpc>
              <a:spcBef>
                <a:spcPts val="800"/>
              </a:spcBef>
              <a:buFont typeface="Arial" panose="020B0604020202020204" pitchFamily="34" charset="0"/>
              <a:buChar char="»"/>
            </a:pPr>
            <a:r>
              <a:rPr lang="en-IN" sz="1800" dirty="0" smtClean="0">
                <a:solidFill>
                  <a:schemeClr val="tx1"/>
                </a:solidFill>
              </a:rPr>
              <a:t>Speculative execution (see later) can also result in more task attempts than completed tasks</a:t>
            </a:r>
            <a:endParaRPr lang="en-IN" sz="1800" dirty="0">
              <a:solidFill>
                <a:schemeClr val="tx1"/>
              </a:solidFill>
            </a:endParaRPr>
          </a:p>
        </p:txBody>
      </p:sp>
    </p:spTree>
    <p:extLst>
      <p:ext uri="{BB962C8B-B14F-4D97-AF65-F5344CB8AC3E}">
        <p14:creationId xmlns:p14="http://schemas.microsoft.com/office/powerpoint/2010/main" val="705604774"/>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MapReduce: The Mapper</a:t>
            </a:r>
            <a:endParaRPr lang="en-IN" dirty="0"/>
          </a:p>
        </p:txBody>
      </p:sp>
      <p:sp>
        <p:nvSpPr>
          <p:cNvPr id="3" name="Content Placeholder 2"/>
          <p:cNvSpPr>
            <a:spLocks noGrp="1"/>
          </p:cNvSpPr>
          <p:nvPr>
            <p:ph type="body" sz="quarter" idx="10"/>
          </p:nvPr>
        </p:nvSpPr>
        <p:spPr bwMode="gray">
          <a:xfrm>
            <a:off x="563531" y="1726018"/>
            <a:ext cx="8275670" cy="1918474"/>
          </a:xfrm>
        </p:spPr>
        <p:txBody>
          <a:bodyPr wrap="square" lIns="0" tIns="0" rIns="0" bIns="0">
            <a:spAutoFit/>
          </a:bodyPr>
          <a:lstStyle/>
          <a:p>
            <a:pPr marL="233363" indent="-233363">
              <a:lnSpc>
                <a:spcPct val="100000"/>
              </a:lnSpc>
              <a:spcBef>
                <a:spcPts val="1200"/>
              </a:spcBef>
            </a:pPr>
            <a:r>
              <a:rPr lang="en-IN" sz="2000" dirty="0" smtClean="0">
                <a:solidFill>
                  <a:schemeClr val="tx1"/>
                </a:solidFill>
              </a:rPr>
              <a:t>Hadoop attempts to ensure that Mappers run on nodes which hold their portion of the data locally, to avoid network traffic</a:t>
            </a:r>
          </a:p>
          <a:p>
            <a:pPr marL="457200" indent="-223838">
              <a:lnSpc>
                <a:spcPct val="100000"/>
              </a:lnSpc>
              <a:spcBef>
                <a:spcPts val="800"/>
              </a:spcBef>
              <a:buFont typeface="Arial" panose="020B0604020202020204" pitchFamily="34" charset="0"/>
              <a:buChar char="»"/>
            </a:pPr>
            <a:r>
              <a:rPr lang="en-IN" sz="1800" dirty="0" smtClean="0">
                <a:solidFill>
                  <a:schemeClr val="tx1"/>
                </a:solidFill>
              </a:rPr>
              <a:t>Multiple Mappers run in parallel, each processing a portion of the input data</a:t>
            </a:r>
          </a:p>
          <a:p>
            <a:pPr marL="233363" indent="-233363">
              <a:lnSpc>
                <a:spcPct val="100000"/>
              </a:lnSpc>
              <a:spcBef>
                <a:spcPts val="1200"/>
              </a:spcBef>
            </a:pPr>
            <a:r>
              <a:rPr lang="en-IN" sz="2000" dirty="0" smtClean="0">
                <a:solidFill>
                  <a:schemeClr val="tx1"/>
                </a:solidFill>
              </a:rPr>
              <a:t>The Mapper reads data in the form of key/value pairs</a:t>
            </a:r>
          </a:p>
          <a:p>
            <a:pPr marL="233363" indent="-233363">
              <a:lnSpc>
                <a:spcPct val="100000"/>
              </a:lnSpc>
              <a:spcBef>
                <a:spcPts val="1200"/>
              </a:spcBef>
            </a:pPr>
            <a:r>
              <a:rPr lang="en-IN" sz="2000" dirty="0" smtClean="0">
                <a:solidFill>
                  <a:schemeClr val="tx1"/>
                </a:solidFill>
              </a:rPr>
              <a:t>It outputs zero or more key/value pairs</a:t>
            </a:r>
            <a:endParaRPr lang="en-IN" sz="2000" dirty="0">
              <a:solidFill>
                <a:schemeClr val="tx1"/>
              </a:solidFill>
            </a:endParaRPr>
          </a:p>
        </p:txBody>
      </p:sp>
      <p:sp>
        <p:nvSpPr>
          <p:cNvPr id="5" name="Rounded Rectangle 4"/>
          <p:cNvSpPr/>
          <p:nvPr/>
        </p:nvSpPr>
        <p:spPr bwMode="gray">
          <a:xfrm>
            <a:off x="554038" y="3902141"/>
            <a:ext cx="8154027" cy="712410"/>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dirty="0">
                <a:solidFill>
                  <a:schemeClr val="tx1"/>
                </a:solidFill>
              </a:rPr>
              <a:t>map(</a:t>
            </a:r>
            <a:r>
              <a:rPr lang="en-IN" sz="1100" dirty="0" err="1">
                <a:solidFill>
                  <a:schemeClr val="tx1"/>
                </a:solidFill>
              </a:rPr>
              <a:t>in_key</a:t>
            </a:r>
            <a:r>
              <a:rPr lang="en-IN" sz="1100" dirty="0">
                <a:solidFill>
                  <a:schemeClr val="tx1"/>
                </a:solidFill>
              </a:rPr>
              <a:t>, </a:t>
            </a:r>
            <a:r>
              <a:rPr lang="en-IN" sz="1100" dirty="0" err="1">
                <a:solidFill>
                  <a:schemeClr val="tx1"/>
                </a:solidFill>
              </a:rPr>
              <a:t>in_value</a:t>
            </a:r>
            <a:r>
              <a:rPr lang="en-IN" sz="1100" dirty="0">
                <a:solidFill>
                  <a:schemeClr val="tx1"/>
                </a:solidFill>
              </a:rPr>
              <a:t>)  -&gt;   (</a:t>
            </a:r>
            <a:r>
              <a:rPr lang="en-IN" sz="1100" dirty="0" err="1">
                <a:solidFill>
                  <a:schemeClr val="tx1"/>
                </a:solidFill>
              </a:rPr>
              <a:t>inter_key</a:t>
            </a:r>
            <a:r>
              <a:rPr lang="en-IN" sz="1100" dirty="0">
                <a:solidFill>
                  <a:schemeClr val="tx1"/>
                </a:solidFill>
              </a:rPr>
              <a:t>, </a:t>
            </a:r>
            <a:r>
              <a:rPr lang="en-IN" sz="1100" dirty="0" err="1">
                <a:solidFill>
                  <a:schemeClr val="tx1"/>
                </a:solidFill>
              </a:rPr>
              <a:t>inter_value</a:t>
            </a:r>
            <a:r>
              <a:rPr lang="en-IN" sz="1100" dirty="0">
                <a:solidFill>
                  <a:schemeClr val="tx1"/>
                </a:solidFill>
              </a:rPr>
              <a:t>) list</a:t>
            </a:r>
          </a:p>
        </p:txBody>
      </p:sp>
    </p:spTree>
    <p:extLst>
      <p:ext uri="{BB962C8B-B14F-4D97-AF65-F5344CB8AC3E}">
        <p14:creationId xmlns:p14="http://schemas.microsoft.com/office/powerpoint/2010/main" val="4028367705"/>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MapReduce: The Mapper (cont’d)</a:t>
            </a:r>
            <a:endParaRPr lang="en-IN" dirty="0"/>
          </a:p>
        </p:txBody>
      </p:sp>
      <p:sp>
        <p:nvSpPr>
          <p:cNvPr id="3" name="Content Placeholder 2"/>
          <p:cNvSpPr>
            <a:spLocks noGrp="1"/>
          </p:cNvSpPr>
          <p:nvPr>
            <p:ph type="body" sz="quarter" idx="10"/>
          </p:nvPr>
        </p:nvSpPr>
        <p:spPr bwMode="gray">
          <a:xfrm>
            <a:off x="563530" y="1981200"/>
            <a:ext cx="8275670" cy="2426305"/>
          </a:xfrm>
        </p:spPr>
        <p:txBody>
          <a:bodyPr wrap="square" lIns="0" tIns="0" rIns="0" bIns="0">
            <a:spAutoFit/>
          </a:bodyPr>
          <a:lstStyle/>
          <a:p>
            <a:pPr marL="233363" indent="-233363">
              <a:lnSpc>
                <a:spcPct val="100000"/>
              </a:lnSpc>
              <a:spcBef>
                <a:spcPts val="1200"/>
              </a:spcBef>
            </a:pPr>
            <a:r>
              <a:rPr lang="en-IN" sz="2000" dirty="0" smtClean="0">
                <a:solidFill>
                  <a:schemeClr val="tx1"/>
                </a:solidFill>
              </a:rPr>
              <a:t>The Mapper may use or completely ignore the input key</a:t>
            </a:r>
          </a:p>
          <a:p>
            <a:pPr marL="457200" lvl="1" indent="-236538">
              <a:spcBef>
                <a:spcPts val="800"/>
              </a:spcBef>
            </a:pPr>
            <a:r>
              <a:rPr lang="en-IN" sz="1800" dirty="0" smtClean="0"/>
              <a:t>For example, a standard pattern is to read a line of a file at a time</a:t>
            </a:r>
          </a:p>
          <a:p>
            <a:pPr marL="690563" lvl="3" indent="-233363">
              <a:spcBef>
                <a:spcPts val="600"/>
              </a:spcBef>
            </a:pPr>
            <a:r>
              <a:rPr lang="en-IN" sz="1600" dirty="0" smtClean="0"/>
              <a:t>The key is the byte offset into the file at which the line starts</a:t>
            </a:r>
          </a:p>
          <a:p>
            <a:pPr marL="690563" lvl="3" indent="-233363">
              <a:spcBef>
                <a:spcPts val="600"/>
              </a:spcBef>
            </a:pPr>
            <a:r>
              <a:rPr lang="en-IN" sz="1600" dirty="0" smtClean="0"/>
              <a:t>The value is the contents of the line itself</a:t>
            </a:r>
          </a:p>
          <a:p>
            <a:pPr marL="690563" lvl="3" indent="-233363">
              <a:spcBef>
                <a:spcPts val="600"/>
              </a:spcBef>
            </a:pPr>
            <a:r>
              <a:rPr lang="en-IN" sz="1600" dirty="0" smtClean="0"/>
              <a:t>Typically the key is considered irrelevant</a:t>
            </a:r>
          </a:p>
          <a:p>
            <a:pPr marL="233363" indent="-233363">
              <a:lnSpc>
                <a:spcPct val="100000"/>
              </a:lnSpc>
              <a:spcBef>
                <a:spcPts val="1200"/>
              </a:spcBef>
            </a:pPr>
            <a:r>
              <a:rPr lang="en-IN" sz="2000" dirty="0" smtClean="0">
                <a:solidFill>
                  <a:schemeClr val="tx1"/>
                </a:solidFill>
              </a:rPr>
              <a:t>If the Mapper writes anything out, the output must be in the form of key/value pairs</a:t>
            </a:r>
            <a:endParaRPr lang="en-IN" sz="2000" dirty="0">
              <a:solidFill>
                <a:schemeClr val="tx1"/>
              </a:solidFill>
            </a:endParaRPr>
          </a:p>
        </p:txBody>
      </p:sp>
    </p:spTree>
    <p:extLst>
      <p:ext uri="{BB962C8B-B14F-4D97-AF65-F5344CB8AC3E}">
        <p14:creationId xmlns:p14="http://schemas.microsoft.com/office/powerpoint/2010/main" val="2489191460"/>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Example Mapper: Upper Case Mapper</a:t>
            </a:r>
            <a:endParaRPr lang="en-IN" dirty="0"/>
          </a:p>
        </p:txBody>
      </p:sp>
      <p:sp>
        <p:nvSpPr>
          <p:cNvPr id="3" name="Content Placeholder 2"/>
          <p:cNvSpPr>
            <a:spLocks noGrp="1"/>
          </p:cNvSpPr>
          <p:nvPr>
            <p:ph type="body" sz="quarter" idx="10"/>
          </p:nvPr>
        </p:nvSpPr>
        <p:spPr bwMode="gray">
          <a:xfrm>
            <a:off x="563530" y="1991821"/>
            <a:ext cx="4609916" cy="390876"/>
          </a:xfrm>
        </p:spPr>
        <p:txBody>
          <a:bodyPr wrap="none" lIns="0" tIns="0" rIns="0" bIns="0">
            <a:spAutoFit/>
          </a:bodyPr>
          <a:lstStyle/>
          <a:p>
            <a:pPr marL="233363" indent="-233363"/>
            <a:r>
              <a:rPr lang="en-IN" sz="2000" dirty="0" smtClean="0">
                <a:solidFill>
                  <a:schemeClr val="tx1"/>
                </a:solidFill>
              </a:rPr>
              <a:t>Turn input into upper case (pseudo-code):</a:t>
            </a:r>
            <a:endParaRPr lang="en-IN" sz="2000" dirty="0">
              <a:solidFill>
                <a:schemeClr val="tx1"/>
              </a:solidFill>
            </a:endParaRPr>
          </a:p>
        </p:txBody>
      </p:sp>
      <p:sp>
        <p:nvSpPr>
          <p:cNvPr id="6" name="Rounded Rectangle 5"/>
          <p:cNvSpPr/>
          <p:nvPr/>
        </p:nvSpPr>
        <p:spPr bwMode="gray">
          <a:xfrm>
            <a:off x="554038" y="2541173"/>
            <a:ext cx="8154027" cy="712410"/>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chemeClr val="tx1"/>
                </a:solidFill>
              </a:rPr>
              <a:t>Let map (k, v) =</a:t>
            </a:r>
          </a:p>
          <a:p>
            <a:pPr marL="233363">
              <a:spcBef>
                <a:spcPts val="200"/>
              </a:spcBef>
            </a:pPr>
            <a:r>
              <a:rPr lang="en-IN" sz="1100">
                <a:solidFill>
                  <a:schemeClr val="tx1"/>
                </a:solidFill>
              </a:rPr>
              <a:t>	emit (k. toUpper (), v. toUpper () )</a:t>
            </a:r>
          </a:p>
        </p:txBody>
      </p:sp>
      <p:sp>
        <p:nvSpPr>
          <p:cNvPr id="7" name="Rounded Rectangle 6"/>
          <p:cNvSpPr/>
          <p:nvPr/>
        </p:nvSpPr>
        <p:spPr bwMode="gray">
          <a:xfrm>
            <a:off x="554038" y="3530001"/>
            <a:ext cx="8154027" cy="712410"/>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chemeClr val="tx1"/>
                </a:solidFill>
              </a:rPr>
              <a:t>(‘foo’, ‘bar’) -&gt; (‘FOO’, ‘BAR’)</a:t>
            </a:r>
          </a:p>
          <a:p>
            <a:pPr marL="233363">
              <a:spcBef>
                <a:spcPts val="200"/>
              </a:spcBef>
            </a:pPr>
            <a:r>
              <a:rPr lang="en-IN" sz="1100">
                <a:solidFill>
                  <a:schemeClr val="tx1"/>
                </a:solidFill>
              </a:rPr>
              <a:t>(‘foo’, ‘other’) -&gt; (‘FOO’, ‘OTHER’)</a:t>
            </a:r>
          </a:p>
          <a:p>
            <a:pPr marL="233363">
              <a:spcBef>
                <a:spcPts val="200"/>
              </a:spcBef>
            </a:pPr>
            <a:r>
              <a:rPr lang="en-IN" sz="1100">
                <a:solidFill>
                  <a:schemeClr val="tx1"/>
                </a:solidFill>
              </a:rPr>
              <a:t>(‘BAZ’, ‘more data’) -&gt; (‘BAZ’, ‘MORE DATA’)</a:t>
            </a:r>
          </a:p>
        </p:txBody>
      </p:sp>
    </p:spTree>
    <p:extLst>
      <p:ext uri="{BB962C8B-B14F-4D97-AF65-F5344CB8AC3E}">
        <p14:creationId xmlns:p14="http://schemas.microsoft.com/office/powerpoint/2010/main" val="589803775"/>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Example Mapper: Explode Mapper</a:t>
            </a:r>
            <a:endParaRPr lang="en-IN" dirty="0"/>
          </a:p>
        </p:txBody>
      </p:sp>
      <p:sp>
        <p:nvSpPr>
          <p:cNvPr id="3" name="Content Placeholder 2"/>
          <p:cNvSpPr>
            <a:spLocks noGrp="1"/>
          </p:cNvSpPr>
          <p:nvPr>
            <p:ph type="body" sz="quarter" idx="10"/>
          </p:nvPr>
        </p:nvSpPr>
        <p:spPr bwMode="gray">
          <a:xfrm>
            <a:off x="566738" y="1704768"/>
            <a:ext cx="5957721" cy="390876"/>
          </a:xfrm>
        </p:spPr>
        <p:txBody>
          <a:bodyPr wrap="none" lIns="0" tIns="0" rIns="0" bIns="0">
            <a:spAutoFit/>
          </a:bodyPr>
          <a:lstStyle/>
          <a:p>
            <a:pPr marL="233363" indent="-233363"/>
            <a:r>
              <a:rPr lang="en-IN" sz="2000" dirty="0" smtClean="0">
                <a:solidFill>
                  <a:schemeClr val="tx1"/>
                </a:solidFill>
              </a:rPr>
              <a:t>Output each input character separately (pseudo-code):</a:t>
            </a:r>
          </a:p>
        </p:txBody>
      </p:sp>
      <p:sp>
        <p:nvSpPr>
          <p:cNvPr id="6" name="Rounded Rectangle 5"/>
          <p:cNvSpPr/>
          <p:nvPr/>
        </p:nvSpPr>
        <p:spPr bwMode="gray">
          <a:xfrm>
            <a:off x="554038" y="2307266"/>
            <a:ext cx="8154027" cy="712410"/>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chemeClr val="tx1"/>
                </a:solidFill>
              </a:rPr>
              <a:t>Let map (k, v) =</a:t>
            </a:r>
          </a:p>
          <a:p>
            <a:pPr marL="233363">
              <a:spcBef>
                <a:spcPts val="200"/>
              </a:spcBef>
            </a:pPr>
            <a:r>
              <a:rPr lang="en-IN" sz="1100">
                <a:solidFill>
                  <a:schemeClr val="tx1"/>
                </a:solidFill>
              </a:rPr>
              <a:t>	foreach char c in v:</a:t>
            </a:r>
          </a:p>
          <a:p>
            <a:pPr marL="233363">
              <a:spcBef>
                <a:spcPts val="200"/>
              </a:spcBef>
            </a:pPr>
            <a:r>
              <a:rPr lang="en-IN" sz="1100">
                <a:solidFill>
                  <a:schemeClr val="tx1"/>
                </a:solidFill>
              </a:rPr>
              <a:t>	      emit (k. c)</a:t>
            </a:r>
          </a:p>
        </p:txBody>
      </p:sp>
      <p:sp>
        <p:nvSpPr>
          <p:cNvPr id="7" name="Rounded Rectangle 6"/>
          <p:cNvSpPr/>
          <p:nvPr/>
        </p:nvSpPr>
        <p:spPr bwMode="gray">
          <a:xfrm>
            <a:off x="554038" y="3317356"/>
            <a:ext cx="8154027" cy="1392888"/>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chemeClr val="tx1"/>
                </a:solidFill>
              </a:rPr>
              <a:t>(‘foo’, ‘bar’) -&gt; (‘foo’, ‘b’), (‘foo’, ‘a’), (‘foo’, ‘r’) </a:t>
            </a:r>
          </a:p>
          <a:p>
            <a:pPr marL="233363">
              <a:spcBef>
                <a:spcPts val="200"/>
              </a:spcBef>
            </a:pPr>
            <a:endParaRPr lang="en-IN" sz="1100">
              <a:solidFill>
                <a:schemeClr val="tx1"/>
              </a:solidFill>
            </a:endParaRPr>
          </a:p>
          <a:p>
            <a:pPr marL="233363">
              <a:spcBef>
                <a:spcPts val="200"/>
              </a:spcBef>
            </a:pPr>
            <a:r>
              <a:rPr lang="en-IN" sz="1100">
                <a:solidFill>
                  <a:schemeClr val="tx1"/>
                </a:solidFill>
              </a:rPr>
              <a:t>(‘foo’, ‘other’) -&gt; (‘foo’, ‘o’), (‘foo’, ‘t’), </a:t>
            </a:r>
          </a:p>
          <a:p>
            <a:pPr marL="233363">
              <a:spcBef>
                <a:spcPts val="200"/>
              </a:spcBef>
            </a:pPr>
            <a:r>
              <a:rPr lang="en-IN" sz="1100">
                <a:solidFill>
                  <a:schemeClr val="tx1"/>
                </a:solidFill>
              </a:rPr>
              <a:t>	            (‘foo’, ‘h’), (‘foo’, ‘e’), </a:t>
            </a:r>
          </a:p>
          <a:p>
            <a:pPr marL="233363">
              <a:spcBef>
                <a:spcPts val="200"/>
              </a:spcBef>
            </a:pPr>
            <a:r>
              <a:rPr lang="en-IN" sz="1100">
                <a:solidFill>
                  <a:schemeClr val="tx1"/>
                </a:solidFill>
              </a:rPr>
              <a:t>	            (‘foo’, ‘r’)</a:t>
            </a:r>
          </a:p>
        </p:txBody>
      </p:sp>
    </p:spTree>
    <p:extLst>
      <p:ext uri="{BB962C8B-B14F-4D97-AF65-F5344CB8AC3E}">
        <p14:creationId xmlns:p14="http://schemas.microsoft.com/office/powerpoint/2010/main" val="402411596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Big Data</a:t>
            </a:r>
            <a:endParaRPr lang="en-IN" dirty="0"/>
          </a:p>
        </p:txBody>
      </p:sp>
      <p:sp>
        <p:nvSpPr>
          <p:cNvPr id="3" name="Content Placeholder 2"/>
          <p:cNvSpPr>
            <a:spLocks noGrp="1"/>
          </p:cNvSpPr>
          <p:nvPr>
            <p:ph idx="4294967295"/>
          </p:nvPr>
        </p:nvSpPr>
        <p:spPr bwMode="gray">
          <a:xfrm>
            <a:off x="566072" y="2210325"/>
            <a:ext cx="8273128" cy="2236510"/>
          </a:xfrm>
          <a:prstGeom prst="rect">
            <a:avLst/>
          </a:prstGeom>
        </p:spPr>
        <p:txBody>
          <a:bodyPr wrap="square" lIns="0" tIns="0" rIns="0" bIns="0">
            <a:spAutoFit/>
          </a:bodyPr>
          <a:lstStyle/>
          <a:p>
            <a:pPr>
              <a:spcBef>
                <a:spcPts val="800"/>
              </a:spcBef>
            </a:pPr>
            <a:r>
              <a:rPr lang="en-IN" sz="2000" dirty="0" smtClean="0">
                <a:solidFill>
                  <a:schemeClr val="tx1"/>
                </a:solidFill>
              </a:rPr>
              <a:t>What is Big Data?</a:t>
            </a:r>
          </a:p>
          <a:p>
            <a:pPr>
              <a:spcBef>
                <a:spcPts val="800"/>
              </a:spcBef>
            </a:pPr>
            <a:r>
              <a:rPr lang="en-IN" sz="2000" dirty="0" smtClean="0">
                <a:solidFill>
                  <a:schemeClr val="tx1"/>
                </a:solidFill>
              </a:rPr>
              <a:t>Three V’s</a:t>
            </a:r>
          </a:p>
          <a:p>
            <a:pPr lvl="1">
              <a:spcBef>
                <a:spcPts val="800"/>
              </a:spcBef>
              <a:buClr>
                <a:schemeClr val="bg2"/>
              </a:buClr>
              <a:buSzPct val="125000"/>
              <a:buFont typeface="Arial" panose="020B0604020202020204" pitchFamily="34" charset="0"/>
              <a:buChar char="›"/>
            </a:pPr>
            <a:r>
              <a:rPr lang="en-IN" sz="1800" dirty="0" smtClean="0">
                <a:solidFill>
                  <a:schemeClr val="tx1"/>
                </a:solidFill>
              </a:rPr>
              <a:t>Volume</a:t>
            </a:r>
          </a:p>
          <a:p>
            <a:pPr lvl="1">
              <a:spcBef>
                <a:spcPts val="800"/>
              </a:spcBef>
              <a:buClr>
                <a:schemeClr val="bg2"/>
              </a:buClr>
              <a:buSzPct val="125000"/>
              <a:buFont typeface="Arial" panose="020B0604020202020204" pitchFamily="34" charset="0"/>
              <a:buChar char="›"/>
            </a:pPr>
            <a:r>
              <a:rPr lang="en-IN" sz="1800" dirty="0" smtClean="0">
                <a:solidFill>
                  <a:schemeClr val="tx1"/>
                </a:solidFill>
              </a:rPr>
              <a:t>Variety</a:t>
            </a:r>
          </a:p>
          <a:p>
            <a:pPr lvl="1">
              <a:spcBef>
                <a:spcPts val="800"/>
              </a:spcBef>
              <a:buClr>
                <a:schemeClr val="bg2"/>
              </a:buClr>
              <a:buSzPct val="125000"/>
              <a:buFont typeface="Arial" panose="020B0604020202020204" pitchFamily="34" charset="0"/>
              <a:buChar char="›"/>
            </a:pPr>
            <a:r>
              <a:rPr lang="en-IN" sz="1800" dirty="0" smtClean="0">
                <a:solidFill>
                  <a:schemeClr val="tx1"/>
                </a:solidFill>
              </a:rPr>
              <a:t>Velocity</a:t>
            </a:r>
          </a:p>
          <a:p>
            <a:pPr lvl="1">
              <a:spcBef>
                <a:spcPts val="800"/>
              </a:spcBef>
              <a:buClr>
                <a:schemeClr val="bg2"/>
              </a:buClr>
              <a:buSzPct val="125000"/>
              <a:buFont typeface="Arial" panose="020B0604020202020204" pitchFamily="34" charset="0"/>
              <a:buChar char="›"/>
            </a:pPr>
            <a:r>
              <a:rPr lang="en-IN" sz="1800" dirty="0" smtClean="0">
                <a:solidFill>
                  <a:schemeClr val="tx1"/>
                </a:solidFill>
              </a:rPr>
              <a:t>A fourth V has been added recently “Veracity”</a:t>
            </a:r>
          </a:p>
        </p:txBody>
      </p:sp>
    </p:spTree>
    <p:extLst>
      <p:ext uri="{BB962C8B-B14F-4D97-AF65-F5344CB8AC3E}">
        <p14:creationId xmlns:p14="http://schemas.microsoft.com/office/powerpoint/2010/main" val="3578390576"/>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Example Mapper: Filter Mapper</a:t>
            </a:r>
            <a:endParaRPr lang="en-IN" dirty="0"/>
          </a:p>
        </p:txBody>
      </p:sp>
      <p:sp>
        <p:nvSpPr>
          <p:cNvPr id="3" name="Content Placeholder 2"/>
          <p:cNvSpPr>
            <a:spLocks noGrp="1"/>
          </p:cNvSpPr>
          <p:nvPr>
            <p:ph type="body" sz="quarter" idx="10"/>
          </p:nvPr>
        </p:nvSpPr>
        <p:spPr bwMode="gray">
          <a:xfrm>
            <a:off x="566738" y="1694109"/>
            <a:ext cx="8272462" cy="861774"/>
          </a:xfrm>
        </p:spPr>
        <p:txBody>
          <a:bodyPr vert="horz" wrap="square" lIns="0" tIns="0" rIns="0" bIns="0">
            <a:spAutoFit/>
          </a:bodyPr>
          <a:lstStyle/>
          <a:p>
            <a:pPr marL="233363" indent="-233363"/>
            <a:r>
              <a:rPr lang="en-IN" sz="2000" dirty="0">
                <a:solidFill>
                  <a:schemeClr val="tx1"/>
                </a:solidFill>
              </a:rPr>
              <a:t>Only output key/value pairs where the input value is a prime number (</a:t>
            </a:r>
            <a:r>
              <a:rPr lang="en-IN" sz="2000">
                <a:solidFill>
                  <a:schemeClr val="tx1"/>
                </a:solidFill>
              </a:rPr>
              <a:t>pseudo-code):</a:t>
            </a:r>
            <a:endParaRPr lang="en-IN" sz="2000" dirty="0">
              <a:solidFill>
                <a:schemeClr val="tx1"/>
              </a:solidFill>
            </a:endParaRPr>
          </a:p>
        </p:txBody>
      </p:sp>
      <p:sp>
        <p:nvSpPr>
          <p:cNvPr id="8" name="Rounded Rectangle 7"/>
          <p:cNvSpPr/>
          <p:nvPr/>
        </p:nvSpPr>
        <p:spPr bwMode="gray">
          <a:xfrm>
            <a:off x="554038" y="2764449"/>
            <a:ext cx="8154027" cy="712410"/>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chemeClr val="tx1"/>
                </a:solidFill>
              </a:rPr>
              <a:t>let map(k, v) =</a:t>
            </a:r>
          </a:p>
          <a:p>
            <a:pPr marL="233363">
              <a:spcBef>
                <a:spcPts val="200"/>
              </a:spcBef>
            </a:pPr>
            <a:r>
              <a:rPr lang="en-IN" sz="1100">
                <a:solidFill>
                  <a:schemeClr val="tx1"/>
                </a:solidFill>
              </a:rPr>
              <a:t>if (isPrime(v)) then emit(k, v)</a:t>
            </a:r>
          </a:p>
        </p:txBody>
      </p:sp>
      <p:sp>
        <p:nvSpPr>
          <p:cNvPr id="9" name="Rounded Rectangle 8"/>
          <p:cNvSpPr/>
          <p:nvPr/>
        </p:nvSpPr>
        <p:spPr bwMode="gray">
          <a:xfrm>
            <a:off x="554038" y="3753278"/>
            <a:ext cx="8154027" cy="712410"/>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chemeClr val="tx1"/>
                </a:solidFill>
              </a:rPr>
              <a:t>('foo', 7) -&gt; ('foo', 7)</a:t>
            </a:r>
          </a:p>
          <a:p>
            <a:pPr marL="233363">
              <a:spcBef>
                <a:spcPts val="200"/>
              </a:spcBef>
            </a:pPr>
            <a:r>
              <a:rPr lang="en-IN" sz="1100">
                <a:solidFill>
                  <a:schemeClr val="tx1"/>
                </a:solidFill>
              </a:rPr>
              <a:t>('baz', 10) -&gt; nothing</a:t>
            </a:r>
          </a:p>
        </p:txBody>
      </p:sp>
    </p:spTree>
    <p:extLst>
      <p:ext uri="{BB962C8B-B14F-4D97-AF65-F5344CB8AC3E}">
        <p14:creationId xmlns:p14="http://schemas.microsoft.com/office/powerpoint/2010/main" val="281678953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Example Mapper: Changing Keyspaces</a:t>
            </a:r>
            <a:endParaRPr lang="en-IN" dirty="0"/>
          </a:p>
        </p:txBody>
      </p:sp>
      <p:sp>
        <p:nvSpPr>
          <p:cNvPr id="3" name="Content Placeholder 2"/>
          <p:cNvSpPr>
            <a:spLocks noGrp="1"/>
          </p:cNvSpPr>
          <p:nvPr>
            <p:ph type="body" sz="quarter" idx="10"/>
          </p:nvPr>
        </p:nvSpPr>
        <p:spPr bwMode="gray">
          <a:xfrm>
            <a:off x="566738" y="1683476"/>
            <a:ext cx="8272462" cy="990015"/>
          </a:xfrm>
        </p:spPr>
        <p:txBody>
          <a:bodyPr vert="horz" wrap="square" lIns="0" tIns="0" rIns="0" bIns="0">
            <a:spAutoFit/>
          </a:bodyPr>
          <a:lstStyle/>
          <a:p>
            <a:pPr marL="233363" indent="-233363"/>
            <a:r>
              <a:rPr lang="en-IN" sz="2000" dirty="0">
                <a:solidFill>
                  <a:schemeClr val="tx1"/>
                </a:solidFill>
              </a:rPr>
              <a:t>The key output by the Mapper does not need to be identical to the input key</a:t>
            </a:r>
          </a:p>
          <a:p>
            <a:pPr marL="233363" indent="-233363"/>
            <a:r>
              <a:rPr lang="en-IN" sz="2000" dirty="0">
                <a:solidFill>
                  <a:schemeClr val="tx1"/>
                </a:solidFill>
              </a:rPr>
              <a:t>Output the word length as the key (</a:t>
            </a:r>
            <a:r>
              <a:rPr lang="en-IN" sz="2000">
                <a:solidFill>
                  <a:schemeClr val="tx1"/>
                </a:solidFill>
              </a:rPr>
              <a:t>pseudo-code</a:t>
            </a:r>
            <a:r>
              <a:rPr lang="en-IN" sz="2000" smtClean="0">
                <a:solidFill>
                  <a:schemeClr val="tx1"/>
                </a:solidFill>
              </a:rPr>
              <a:t>):</a:t>
            </a:r>
            <a:endParaRPr lang="en-IN" sz="2000" dirty="0">
              <a:solidFill>
                <a:schemeClr val="tx1"/>
              </a:solidFill>
            </a:endParaRPr>
          </a:p>
        </p:txBody>
      </p:sp>
      <p:sp>
        <p:nvSpPr>
          <p:cNvPr id="8" name="Rounded Rectangle 7"/>
          <p:cNvSpPr/>
          <p:nvPr/>
        </p:nvSpPr>
        <p:spPr bwMode="gray">
          <a:xfrm>
            <a:off x="554038" y="3040884"/>
            <a:ext cx="8154027" cy="712410"/>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nn-NO" sz="1100">
                <a:solidFill>
                  <a:schemeClr val="tx1"/>
                </a:solidFill>
              </a:rPr>
              <a:t>let map(k, v) =</a:t>
            </a:r>
          </a:p>
          <a:p>
            <a:pPr marL="233363">
              <a:spcBef>
                <a:spcPts val="200"/>
              </a:spcBef>
            </a:pPr>
            <a:r>
              <a:rPr lang="nn-NO" sz="1100">
                <a:solidFill>
                  <a:schemeClr val="tx1"/>
                </a:solidFill>
              </a:rPr>
              <a:t>emit(v.length(), v)</a:t>
            </a:r>
          </a:p>
        </p:txBody>
      </p:sp>
      <p:sp>
        <p:nvSpPr>
          <p:cNvPr id="9" name="Rounded Rectangle 8"/>
          <p:cNvSpPr/>
          <p:nvPr/>
        </p:nvSpPr>
        <p:spPr bwMode="gray">
          <a:xfrm>
            <a:off x="554038" y="4019081"/>
            <a:ext cx="8154027" cy="712410"/>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nn-NO" sz="1100">
                <a:solidFill>
                  <a:schemeClr val="tx1"/>
                </a:solidFill>
              </a:rPr>
              <a:t>('foo', 'bar') -&gt; (3, 'bar')</a:t>
            </a:r>
          </a:p>
          <a:p>
            <a:pPr marL="233363">
              <a:spcBef>
                <a:spcPts val="200"/>
              </a:spcBef>
            </a:pPr>
            <a:r>
              <a:rPr lang="nn-NO" sz="1100">
                <a:solidFill>
                  <a:schemeClr val="tx1"/>
                </a:solidFill>
              </a:rPr>
              <a:t>('baz', 'other') -&gt; (5, 'other')</a:t>
            </a:r>
          </a:p>
          <a:p>
            <a:pPr marL="233363">
              <a:spcBef>
                <a:spcPts val="200"/>
              </a:spcBef>
            </a:pPr>
            <a:r>
              <a:rPr lang="nn-NO" sz="1100">
                <a:solidFill>
                  <a:schemeClr val="tx1"/>
                </a:solidFill>
              </a:rPr>
              <a:t>('foo', 'abracadabra') -&gt; (11, 'abracadabra')</a:t>
            </a:r>
          </a:p>
        </p:txBody>
      </p:sp>
    </p:spTree>
    <p:extLst>
      <p:ext uri="{BB962C8B-B14F-4D97-AF65-F5344CB8AC3E}">
        <p14:creationId xmlns:p14="http://schemas.microsoft.com/office/powerpoint/2010/main" val="136327374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MapReduce: The Reducer</a:t>
            </a:r>
            <a:endParaRPr lang="en-IN" dirty="0"/>
          </a:p>
        </p:txBody>
      </p:sp>
      <p:sp>
        <p:nvSpPr>
          <p:cNvPr id="3" name="Content Placeholder 2"/>
          <p:cNvSpPr>
            <a:spLocks noGrp="1"/>
          </p:cNvSpPr>
          <p:nvPr>
            <p:ph type="body" sz="quarter" idx="10"/>
          </p:nvPr>
        </p:nvSpPr>
        <p:spPr bwMode="gray">
          <a:xfrm>
            <a:off x="563531" y="1385752"/>
            <a:ext cx="8275670" cy="4693593"/>
          </a:xfrm>
        </p:spPr>
        <p:txBody>
          <a:bodyPr wrap="square" lIns="0" tIns="0" rIns="0" bIns="0">
            <a:spAutoFit/>
          </a:bodyPr>
          <a:lstStyle/>
          <a:p>
            <a:pPr marL="233363" indent="-233363">
              <a:lnSpc>
                <a:spcPct val="100000"/>
              </a:lnSpc>
              <a:spcBef>
                <a:spcPts val="1200"/>
              </a:spcBef>
            </a:pPr>
            <a:r>
              <a:rPr lang="en-IN" sz="2000" dirty="0" smtClean="0">
                <a:solidFill>
                  <a:schemeClr val="tx1"/>
                </a:solidFill>
              </a:rPr>
              <a:t>After the Map phase is over, all the intermediate values for a given intermediate key are combined together into a list</a:t>
            </a:r>
          </a:p>
          <a:p>
            <a:pPr marL="233363" indent="-233363">
              <a:lnSpc>
                <a:spcPct val="100000"/>
              </a:lnSpc>
              <a:spcBef>
                <a:spcPts val="1200"/>
              </a:spcBef>
            </a:pPr>
            <a:r>
              <a:rPr lang="en-IN" sz="2000" dirty="0" smtClean="0">
                <a:solidFill>
                  <a:schemeClr val="tx1"/>
                </a:solidFill>
              </a:rPr>
              <a:t>This list is given to a Reducer</a:t>
            </a:r>
          </a:p>
          <a:p>
            <a:pPr lvl="1">
              <a:spcBef>
                <a:spcPts val="800"/>
              </a:spcBef>
            </a:pPr>
            <a:r>
              <a:rPr lang="en-IN" sz="1800" dirty="0" smtClean="0"/>
              <a:t>There may be a single Reducer, or multiple Reducers</a:t>
            </a:r>
          </a:p>
          <a:p>
            <a:pPr lvl="2">
              <a:spcBef>
                <a:spcPts val="600"/>
              </a:spcBef>
              <a:buFont typeface="Calibri" panose="020F0502020204030204" pitchFamily="34" charset="0"/>
              <a:buChar char="»"/>
            </a:pPr>
            <a:r>
              <a:rPr lang="en-IN" sz="1600" dirty="0" smtClean="0"/>
              <a:t>This is specified as part of the job configuration</a:t>
            </a:r>
          </a:p>
          <a:p>
            <a:pPr lvl="1">
              <a:spcBef>
                <a:spcPts val="800"/>
              </a:spcBef>
            </a:pPr>
            <a:r>
              <a:rPr lang="en-IN" sz="1800" dirty="0" smtClean="0"/>
              <a:t>All values associated with a particular intermediate key are guaranteed to go to the same Reducer</a:t>
            </a:r>
          </a:p>
          <a:p>
            <a:pPr lvl="1">
              <a:spcBef>
                <a:spcPts val="800"/>
              </a:spcBef>
            </a:pPr>
            <a:r>
              <a:rPr lang="en-IN" sz="1800" dirty="0" smtClean="0"/>
              <a:t>The intermediate keys, and their value lists, are passed to the Reducer in sorted key order</a:t>
            </a:r>
          </a:p>
          <a:p>
            <a:pPr lvl="1">
              <a:spcBef>
                <a:spcPts val="800"/>
              </a:spcBef>
            </a:pPr>
            <a:r>
              <a:rPr lang="en-IN" sz="1800" dirty="0" smtClean="0"/>
              <a:t>This step is known as the ‘shuffle and sort’</a:t>
            </a:r>
          </a:p>
          <a:p>
            <a:pPr marL="233363" indent="-233363">
              <a:lnSpc>
                <a:spcPct val="100000"/>
              </a:lnSpc>
              <a:spcBef>
                <a:spcPts val="1200"/>
              </a:spcBef>
            </a:pPr>
            <a:r>
              <a:rPr lang="en-IN" sz="2000" dirty="0" smtClean="0">
                <a:solidFill>
                  <a:schemeClr val="tx1"/>
                </a:solidFill>
              </a:rPr>
              <a:t>The Reducer outputs zero or more final key/value pairs</a:t>
            </a:r>
          </a:p>
          <a:p>
            <a:pPr lvl="1">
              <a:spcBef>
                <a:spcPts val="800"/>
              </a:spcBef>
            </a:pPr>
            <a:r>
              <a:rPr lang="en-IN" sz="1800" dirty="0" smtClean="0"/>
              <a:t>These are written to HDFS</a:t>
            </a:r>
          </a:p>
          <a:p>
            <a:pPr lvl="1">
              <a:spcBef>
                <a:spcPts val="800"/>
              </a:spcBef>
            </a:pPr>
            <a:r>
              <a:rPr lang="en-IN" sz="1800" dirty="0" smtClean="0"/>
              <a:t>In practice, the Reducer usually emits a single key/value pair for each input key</a:t>
            </a:r>
            <a:endParaRPr lang="en-IN" sz="1800" dirty="0"/>
          </a:p>
        </p:txBody>
      </p:sp>
    </p:spTree>
    <p:extLst>
      <p:ext uri="{BB962C8B-B14F-4D97-AF65-F5344CB8AC3E}">
        <p14:creationId xmlns:p14="http://schemas.microsoft.com/office/powerpoint/2010/main" val="27639804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Example Reducer: Sum Reducer</a:t>
            </a:r>
            <a:endParaRPr lang="en-IN" dirty="0"/>
          </a:p>
        </p:txBody>
      </p:sp>
      <p:sp>
        <p:nvSpPr>
          <p:cNvPr id="3" name="Content Placeholder 2"/>
          <p:cNvSpPr>
            <a:spLocks noGrp="1"/>
          </p:cNvSpPr>
          <p:nvPr>
            <p:ph type="body" sz="quarter" idx="10"/>
          </p:nvPr>
        </p:nvSpPr>
        <p:spPr bwMode="gray">
          <a:xfrm>
            <a:off x="563530" y="1864237"/>
            <a:ext cx="8138062" cy="390876"/>
          </a:xfrm>
        </p:spPr>
        <p:txBody>
          <a:bodyPr wrap="none" lIns="0" tIns="0" rIns="0" bIns="0">
            <a:spAutoFit/>
          </a:bodyPr>
          <a:lstStyle/>
          <a:p>
            <a:pPr marL="233363" indent="-233363"/>
            <a:r>
              <a:rPr lang="en-IN" sz="2000" smtClean="0">
                <a:solidFill>
                  <a:schemeClr val="tx1"/>
                </a:solidFill>
              </a:rPr>
              <a:t>Add up all the values associated with each intermediate key (pseudo-code):</a:t>
            </a:r>
            <a:endParaRPr lang="en-IN" sz="2000" dirty="0">
              <a:solidFill>
                <a:schemeClr val="tx1"/>
              </a:solidFill>
            </a:endParaRPr>
          </a:p>
        </p:txBody>
      </p:sp>
      <p:sp>
        <p:nvSpPr>
          <p:cNvPr id="7" name="Rounded Rectangle 6"/>
          <p:cNvSpPr/>
          <p:nvPr/>
        </p:nvSpPr>
        <p:spPr bwMode="gray">
          <a:xfrm>
            <a:off x="554038" y="2647479"/>
            <a:ext cx="8154027" cy="1148343"/>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chemeClr val="tx1"/>
                </a:solidFill>
              </a:rPr>
              <a:t>let reduce(k, vals) =</a:t>
            </a:r>
          </a:p>
          <a:p>
            <a:pPr marL="233363">
              <a:spcBef>
                <a:spcPts val="200"/>
              </a:spcBef>
            </a:pPr>
            <a:r>
              <a:rPr lang="en-IN" sz="1100">
                <a:solidFill>
                  <a:schemeClr val="tx1"/>
                </a:solidFill>
              </a:rPr>
              <a:t>sum = 0</a:t>
            </a:r>
          </a:p>
          <a:p>
            <a:pPr marL="233363">
              <a:spcBef>
                <a:spcPts val="200"/>
              </a:spcBef>
            </a:pPr>
            <a:r>
              <a:rPr lang="en-IN" sz="1100">
                <a:solidFill>
                  <a:schemeClr val="tx1"/>
                </a:solidFill>
              </a:rPr>
              <a:t>foreach int i in vals:</a:t>
            </a:r>
          </a:p>
          <a:p>
            <a:pPr marL="233363">
              <a:spcBef>
                <a:spcPts val="200"/>
              </a:spcBef>
            </a:pPr>
            <a:r>
              <a:rPr lang="en-IN" sz="1100">
                <a:solidFill>
                  <a:schemeClr val="tx1"/>
                </a:solidFill>
              </a:rPr>
              <a:t>sum += i</a:t>
            </a:r>
          </a:p>
          <a:p>
            <a:pPr marL="233363">
              <a:spcBef>
                <a:spcPts val="200"/>
              </a:spcBef>
            </a:pPr>
            <a:r>
              <a:rPr lang="en-IN" sz="1100">
                <a:solidFill>
                  <a:schemeClr val="tx1"/>
                </a:solidFill>
              </a:rPr>
              <a:t>emit(k, sum)</a:t>
            </a:r>
          </a:p>
        </p:txBody>
      </p:sp>
      <p:sp>
        <p:nvSpPr>
          <p:cNvPr id="8" name="Rounded Rectangle 7"/>
          <p:cNvSpPr/>
          <p:nvPr/>
        </p:nvSpPr>
        <p:spPr bwMode="gray">
          <a:xfrm>
            <a:off x="554038" y="4146670"/>
            <a:ext cx="8154027" cy="712410"/>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chemeClr val="tx1"/>
                </a:solidFill>
              </a:rPr>
              <a:t>(’bar', [9, 3, -17, 44]) -&gt; (’bar', 39)</a:t>
            </a:r>
          </a:p>
          <a:p>
            <a:pPr marL="233363">
              <a:spcBef>
                <a:spcPts val="200"/>
              </a:spcBef>
            </a:pPr>
            <a:r>
              <a:rPr lang="en-IN" sz="1100">
                <a:solidFill>
                  <a:schemeClr val="tx1"/>
                </a:solidFill>
              </a:rPr>
              <a:t>(’foo', [123, 100, 77]) -&gt; (’foo', 300)</a:t>
            </a:r>
          </a:p>
        </p:txBody>
      </p:sp>
    </p:spTree>
    <p:extLst>
      <p:ext uri="{BB962C8B-B14F-4D97-AF65-F5344CB8AC3E}">
        <p14:creationId xmlns:p14="http://schemas.microsoft.com/office/powerpoint/2010/main" val="45248550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Example Reducer: Identity Reducer</a:t>
            </a:r>
            <a:endParaRPr lang="en-IN" dirty="0"/>
          </a:p>
        </p:txBody>
      </p:sp>
      <p:sp>
        <p:nvSpPr>
          <p:cNvPr id="3" name="Content Placeholder 2"/>
          <p:cNvSpPr>
            <a:spLocks noGrp="1"/>
          </p:cNvSpPr>
          <p:nvPr>
            <p:ph type="body" sz="quarter" idx="10"/>
          </p:nvPr>
        </p:nvSpPr>
        <p:spPr bwMode="gray">
          <a:xfrm>
            <a:off x="563530" y="1842971"/>
            <a:ext cx="5794087" cy="390876"/>
          </a:xfrm>
        </p:spPr>
        <p:txBody>
          <a:bodyPr wrap="none" lIns="0" tIns="0" rIns="0" bIns="0">
            <a:spAutoFit/>
          </a:bodyPr>
          <a:lstStyle/>
          <a:p>
            <a:pPr marL="233363" indent="-233363"/>
            <a:r>
              <a:rPr lang="en-IN" sz="2000" dirty="0" smtClean="0">
                <a:solidFill>
                  <a:schemeClr val="tx1"/>
                </a:solidFill>
              </a:rPr>
              <a:t>The Identity Reducer is very common (pseudo-code):</a:t>
            </a:r>
          </a:p>
        </p:txBody>
      </p:sp>
      <p:sp>
        <p:nvSpPr>
          <p:cNvPr id="8" name="Rounded Rectangle 7"/>
          <p:cNvSpPr/>
          <p:nvPr/>
        </p:nvSpPr>
        <p:spPr bwMode="gray">
          <a:xfrm>
            <a:off x="554038" y="2445461"/>
            <a:ext cx="8154027" cy="754938"/>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chemeClr val="tx1"/>
                </a:solidFill>
              </a:rPr>
              <a:t>let reduce(k, vals) =</a:t>
            </a:r>
          </a:p>
          <a:p>
            <a:pPr marL="233363">
              <a:spcBef>
                <a:spcPts val="200"/>
              </a:spcBef>
            </a:pPr>
            <a:r>
              <a:rPr lang="en-IN" sz="1100">
                <a:solidFill>
                  <a:schemeClr val="tx1"/>
                </a:solidFill>
              </a:rPr>
              <a:t>foreach v in vals:</a:t>
            </a:r>
          </a:p>
          <a:p>
            <a:pPr marL="233363">
              <a:spcBef>
                <a:spcPts val="200"/>
              </a:spcBef>
            </a:pPr>
            <a:r>
              <a:rPr lang="en-IN" sz="1100">
                <a:solidFill>
                  <a:schemeClr val="tx1"/>
                </a:solidFill>
              </a:rPr>
              <a:t>emit(k, v)</a:t>
            </a:r>
          </a:p>
        </p:txBody>
      </p:sp>
      <p:sp>
        <p:nvSpPr>
          <p:cNvPr id="9" name="Rounded Rectangle 8"/>
          <p:cNvSpPr/>
          <p:nvPr/>
        </p:nvSpPr>
        <p:spPr bwMode="gray">
          <a:xfrm>
            <a:off x="554038" y="3732003"/>
            <a:ext cx="8154027" cy="978223"/>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chemeClr val="tx1"/>
                </a:solidFill>
              </a:rPr>
              <a:t>('foo', [9, 3, -17, 44]) -&gt; ('foo', 9), ('foo', 3),</a:t>
            </a:r>
          </a:p>
          <a:p>
            <a:pPr marL="233363">
              <a:spcBef>
                <a:spcPts val="200"/>
              </a:spcBef>
            </a:pPr>
            <a:r>
              <a:rPr lang="en-IN" sz="1100">
                <a:solidFill>
                  <a:schemeClr val="tx1"/>
                </a:solidFill>
              </a:rPr>
              <a:t>('foo', -17), ('foo', 44)</a:t>
            </a:r>
          </a:p>
          <a:p>
            <a:pPr marL="233363">
              <a:spcBef>
                <a:spcPts val="200"/>
              </a:spcBef>
            </a:pPr>
            <a:r>
              <a:rPr lang="en-IN" sz="1100">
                <a:solidFill>
                  <a:schemeClr val="tx1"/>
                </a:solidFill>
              </a:rPr>
              <a:t>('bar', [123, 100, 77]) -&gt; ('bar', 123), ('bar', 100),</a:t>
            </a:r>
          </a:p>
          <a:p>
            <a:pPr marL="233363">
              <a:spcBef>
                <a:spcPts val="200"/>
              </a:spcBef>
            </a:pPr>
            <a:r>
              <a:rPr lang="en-IN" sz="1100">
                <a:solidFill>
                  <a:schemeClr val="tx1"/>
                </a:solidFill>
              </a:rPr>
              <a:t>('bar', 77)</a:t>
            </a:r>
          </a:p>
        </p:txBody>
      </p:sp>
    </p:spTree>
    <p:extLst>
      <p:ext uri="{BB962C8B-B14F-4D97-AF65-F5344CB8AC3E}">
        <p14:creationId xmlns:p14="http://schemas.microsoft.com/office/powerpoint/2010/main" val="269652059"/>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MapReduce Example: Word Count</a:t>
            </a:r>
            <a:endParaRPr lang="en-IN" dirty="0"/>
          </a:p>
        </p:txBody>
      </p:sp>
      <p:sp>
        <p:nvSpPr>
          <p:cNvPr id="3" name="Content Placeholder 2"/>
          <p:cNvSpPr>
            <a:spLocks noGrp="1"/>
          </p:cNvSpPr>
          <p:nvPr>
            <p:ph type="body" sz="quarter" idx="10"/>
          </p:nvPr>
        </p:nvSpPr>
        <p:spPr bwMode="gray">
          <a:xfrm>
            <a:off x="563530" y="1768540"/>
            <a:ext cx="8442183" cy="800219"/>
          </a:xfrm>
        </p:spPr>
        <p:txBody>
          <a:bodyPr wrap="none" lIns="0" tIns="0" rIns="0" bIns="0">
            <a:spAutoFit/>
          </a:bodyPr>
          <a:lstStyle/>
          <a:p>
            <a:pPr marL="233363" indent="-233363"/>
            <a:r>
              <a:rPr lang="en-IN" sz="2000" dirty="0" smtClean="0">
                <a:solidFill>
                  <a:schemeClr val="tx1"/>
                </a:solidFill>
              </a:rPr>
              <a:t>Count the number of occurrences of each word in a large amount of input data</a:t>
            </a:r>
          </a:p>
          <a:p>
            <a:pPr marL="457200" lvl="1" indent="-236538"/>
            <a:r>
              <a:rPr lang="en-IN" sz="2000" dirty="0" smtClean="0"/>
              <a:t> </a:t>
            </a:r>
            <a:r>
              <a:rPr lang="en-IN" sz="1800" dirty="0" smtClean="0"/>
              <a:t>This is the ‘hello world’ of </a:t>
            </a:r>
            <a:r>
              <a:rPr lang="en-IN" sz="1800" dirty="0" err="1" smtClean="0"/>
              <a:t>MapReduce</a:t>
            </a:r>
            <a:r>
              <a:rPr lang="en-IN" sz="1800" dirty="0" smtClean="0"/>
              <a:t> programming</a:t>
            </a:r>
            <a:endParaRPr lang="en-IN" sz="1800" dirty="0"/>
          </a:p>
        </p:txBody>
      </p:sp>
      <p:sp>
        <p:nvSpPr>
          <p:cNvPr id="7" name="Rounded Rectangle 6"/>
          <p:cNvSpPr/>
          <p:nvPr/>
        </p:nvSpPr>
        <p:spPr bwMode="gray">
          <a:xfrm>
            <a:off x="554038" y="3732001"/>
            <a:ext cx="8154027" cy="1594912"/>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chemeClr val="tx1"/>
                </a:solidFill>
              </a:rPr>
              <a:t>reduce(String output_key,</a:t>
            </a:r>
          </a:p>
          <a:p>
            <a:pPr marL="233363">
              <a:spcBef>
                <a:spcPts val="200"/>
              </a:spcBef>
            </a:pPr>
            <a:r>
              <a:rPr lang="en-IN" sz="1100">
                <a:solidFill>
                  <a:schemeClr val="tx1"/>
                </a:solidFill>
              </a:rPr>
              <a:t>Iterator&lt;int&gt; intermediate_vals)</a:t>
            </a:r>
          </a:p>
          <a:p>
            <a:pPr marL="233363">
              <a:spcBef>
                <a:spcPts val="200"/>
              </a:spcBef>
            </a:pPr>
            <a:r>
              <a:rPr lang="en-IN" sz="1100">
                <a:solidFill>
                  <a:schemeClr val="tx1"/>
                </a:solidFill>
              </a:rPr>
              <a:t>set count = 0</a:t>
            </a:r>
          </a:p>
          <a:p>
            <a:pPr marL="233363">
              <a:spcBef>
                <a:spcPts val="200"/>
              </a:spcBef>
            </a:pPr>
            <a:r>
              <a:rPr lang="en-IN" sz="1100">
                <a:solidFill>
                  <a:schemeClr val="tx1"/>
                </a:solidFill>
              </a:rPr>
              <a:t>foreach v in intermediate_vals:</a:t>
            </a:r>
          </a:p>
          <a:p>
            <a:pPr marL="233363">
              <a:spcBef>
                <a:spcPts val="200"/>
              </a:spcBef>
            </a:pPr>
            <a:r>
              <a:rPr lang="en-IN" sz="1100">
                <a:solidFill>
                  <a:schemeClr val="tx1"/>
                </a:solidFill>
              </a:rPr>
              <a:t>count += v</a:t>
            </a:r>
          </a:p>
          <a:p>
            <a:pPr marL="233363">
              <a:spcBef>
                <a:spcPts val="200"/>
              </a:spcBef>
            </a:pPr>
            <a:r>
              <a:rPr lang="en-IN" sz="1100">
                <a:solidFill>
                  <a:schemeClr val="tx1"/>
                </a:solidFill>
              </a:rPr>
              <a:t>emit(output_key, count)</a:t>
            </a:r>
          </a:p>
        </p:txBody>
      </p:sp>
      <p:sp>
        <p:nvSpPr>
          <p:cNvPr id="8" name="Rounded Rectangle 7"/>
          <p:cNvSpPr/>
          <p:nvPr/>
        </p:nvSpPr>
        <p:spPr bwMode="gray">
          <a:xfrm>
            <a:off x="554038" y="2647480"/>
            <a:ext cx="8154027" cy="754938"/>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chemeClr val="tx1"/>
                </a:solidFill>
              </a:rPr>
              <a:t>map(String input_key, String input_value)</a:t>
            </a:r>
          </a:p>
          <a:p>
            <a:pPr marL="233363">
              <a:spcBef>
                <a:spcPts val="200"/>
              </a:spcBef>
            </a:pPr>
            <a:r>
              <a:rPr lang="en-IN" sz="1100">
                <a:solidFill>
                  <a:schemeClr val="tx1"/>
                </a:solidFill>
              </a:rPr>
              <a:t>foreach word w in input_value:</a:t>
            </a:r>
          </a:p>
          <a:p>
            <a:pPr marL="233363">
              <a:spcBef>
                <a:spcPts val="200"/>
              </a:spcBef>
            </a:pPr>
            <a:r>
              <a:rPr lang="en-IN" sz="1100">
                <a:solidFill>
                  <a:schemeClr val="tx1"/>
                </a:solidFill>
              </a:rPr>
              <a:t>emit(w, 1)</a:t>
            </a:r>
          </a:p>
        </p:txBody>
      </p:sp>
    </p:spTree>
    <p:extLst>
      <p:ext uri="{BB962C8B-B14F-4D97-AF65-F5344CB8AC3E}">
        <p14:creationId xmlns:p14="http://schemas.microsoft.com/office/powerpoint/2010/main" val="1501257512"/>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MapReduce Example: Word Count (cont’d)</a:t>
            </a:r>
            <a:endParaRPr lang="en-IN" dirty="0"/>
          </a:p>
        </p:txBody>
      </p:sp>
      <p:sp>
        <p:nvSpPr>
          <p:cNvPr id="3" name="Content Placeholder 2"/>
          <p:cNvSpPr>
            <a:spLocks noGrp="1"/>
          </p:cNvSpPr>
          <p:nvPr>
            <p:ph type="body" sz="quarter" idx="10"/>
          </p:nvPr>
        </p:nvSpPr>
        <p:spPr bwMode="gray">
          <a:xfrm>
            <a:off x="563530" y="1513348"/>
            <a:ext cx="2961452" cy="2108269"/>
          </a:xfrm>
        </p:spPr>
        <p:txBody>
          <a:bodyPr wrap="none" lIns="0" tIns="0" rIns="0" bIns="0">
            <a:spAutoFit/>
          </a:bodyPr>
          <a:lstStyle/>
          <a:p>
            <a:r>
              <a:rPr lang="en-IN" sz="2000" dirty="0" smtClean="0">
                <a:solidFill>
                  <a:schemeClr val="tx1"/>
                </a:solidFill>
              </a:rPr>
              <a:t>Input to the Mapper:</a:t>
            </a:r>
          </a:p>
          <a:p>
            <a:endParaRPr lang="en-IN" sz="2000" dirty="0" smtClean="0">
              <a:solidFill>
                <a:schemeClr val="tx1"/>
              </a:solidFill>
            </a:endParaRPr>
          </a:p>
          <a:p>
            <a:endParaRPr lang="en-IN" sz="2000" dirty="0" smtClean="0">
              <a:solidFill>
                <a:schemeClr val="tx1"/>
              </a:solidFill>
            </a:endParaRPr>
          </a:p>
          <a:p>
            <a:r>
              <a:rPr lang="en-IN" sz="2000" dirty="0" smtClean="0">
                <a:solidFill>
                  <a:schemeClr val="tx1"/>
                </a:solidFill>
              </a:rPr>
              <a:t>Output from the Mapper:</a:t>
            </a:r>
            <a:endParaRPr lang="en-IN" sz="2000" dirty="0">
              <a:solidFill>
                <a:schemeClr val="tx1"/>
              </a:solidFill>
            </a:endParaRPr>
          </a:p>
        </p:txBody>
      </p:sp>
      <p:sp>
        <p:nvSpPr>
          <p:cNvPr id="8" name="Rounded Rectangle 7"/>
          <p:cNvSpPr/>
          <p:nvPr/>
        </p:nvSpPr>
        <p:spPr bwMode="gray">
          <a:xfrm>
            <a:off x="554038" y="3625680"/>
            <a:ext cx="8154027" cy="882530"/>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chemeClr val="tx1"/>
                </a:solidFill>
              </a:rPr>
              <a:t>('the', 1), ('cat', 1), ('sat', 1), ('on', 1),</a:t>
            </a:r>
          </a:p>
          <a:p>
            <a:pPr marL="233363">
              <a:spcBef>
                <a:spcPts val="200"/>
              </a:spcBef>
            </a:pPr>
            <a:r>
              <a:rPr lang="en-IN" sz="1100">
                <a:solidFill>
                  <a:schemeClr val="tx1"/>
                </a:solidFill>
              </a:rPr>
              <a:t>('the', 1), ('mat', 1), ('the', 1), ('aardvark', 1),</a:t>
            </a:r>
          </a:p>
          <a:p>
            <a:pPr marL="233363">
              <a:spcBef>
                <a:spcPts val="200"/>
              </a:spcBef>
            </a:pPr>
            <a:r>
              <a:rPr lang="en-IN" sz="1100">
                <a:solidFill>
                  <a:schemeClr val="tx1"/>
                </a:solidFill>
              </a:rPr>
              <a:t>('sat', 1), ('on', 1), ('the', 1), ('sofa', 1)</a:t>
            </a:r>
          </a:p>
        </p:txBody>
      </p:sp>
      <p:sp>
        <p:nvSpPr>
          <p:cNvPr id="9" name="Rounded Rectangle 8"/>
          <p:cNvSpPr/>
          <p:nvPr/>
        </p:nvSpPr>
        <p:spPr bwMode="gray">
          <a:xfrm>
            <a:off x="554038" y="1945731"/>
            <a:ext cx="8154027" cy="754938"/>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chemeClr val="tx1"/>
                </a:solidFill>
              </a:rPr>
              <a:t>(3414, 'the cat sat on the mat')</a:t>
            </a:r>
          </a:p>
          <a:p>
            <a:pPr marL="233363">
              <a:spcBef>
                <a:spcPts val="200"/>
              </a:spcBef>
            </a:pPr>
            <a:r>
              <a:rPr lang="en-IN" sz="1100">
                <a:solidFill>
                  <a:schemeClr val="tx1"/>
                </a:solidFill>
              </a:rPr>
              <a:t>(3437, 'the aardvark sat on the sofa')</a:t>
            </a:r>
          </a:p>
        </p:txBody>
      </p:sp>
    </p:spTree>
    <p:extLst>
      <p:ext uri="{BB962C8B-B14F-4D97-AF65-F5344CB8AC3E}">
        <p14:creationId xmlns:p14="http://schemas.microsoft.com/office/powerpoint/2010/main" val="264802408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IN" dirty="0" err="1"/>
              <a:t>MapReduce</a:t>
            </a:r>
            <a:r>
              <a:rPr lang="en-IN" dirty="0"/>
              <a:t> Example: Word Count (cont’d</a:t>
            </a:r>
            <a:r>
              <a:rPr lang="en-IN" dirty="0" smtClean="0"/>
              <a:t>)</a:t>
            </a:r>
            <a:endParaRPr lang="en-IN" dirty="0"/>
          </a:p>
        </p:txBody>
      </p:sp>
      <p:sp>
        <p:nvSpPr>
          <p:cNvPr id="3" name="Content Placeholder 2"/>
          <p:cNvSpPr>
            <a:spLocks noGrp="1"/>
          </p:cNvSpPr>
          <p:nvPr>
            <p:ph type="body" sz="quarter" idx="10"/>
          </p:nvPr>
        </p:nvSpPr>
        <p:spPr bwMode="gray">
          <a:xfrm>
            <a:off x="563530" y="1523981"/>
            <a:ext cx="4343048" cy="2667397"/>
          </a:xfrm>
        </p:spPr>
        <p:txBody>
          <a:bodyPr wrap="none" lIns="0" tIns="0" rIns="0" bIns="0">
            <a:spAutoFit/>
          </a:bodyPr>
          <a:lstStyle/>
          <a:p>
            <a:r>
              <a:rPr lang="en-IN" sz="2000" dirty="0" smtClean="0">
                <a:solidFill>
                  <a:schemeClr val="tx1"/>
                </a:solidFill>
              </a:rPr>
              <a:t>Intermediate data sent to the Reducer:</a:t>
            </a:r>
          </a:p>
          <a:p>
            <a:endParaRPr lang="en-IN" sz="2000" dirty="0" smtClean="0">
              <a:solidFill>
                <a:schemeClr val="tx1"/>
              </a:solidFill>
            </a:endParaRPr>
          </a:p>
          <a:p>
            <a:endParaRPr lang="en-IN" sz="2000" dirty="0" smtClean="0">
              <a:solidFill>
                <a:schemeClr val="tx1"/>
              </a:solidFill>
            </a:endParaRPr>
          </a:p>
          <a:p>
            <a:endParaRPr lang="en-IN" sz="2000" dirty="0" smtClean="0">
              <a:solidFill>
                <a:schemeClr val="tx1"/>
              </a:solidFill>
            </a:endParaRPr>
          </a:p>
          <a:p>
            <a:r>
              <a:rPr lang="en-IN" sz="2000" smtClean="0">
                <a:solidFill>
                  <a:schemeClr val="tx1"/>
                </a:solidFill>
              </a:rPr>
              <a:t>Final </a:t>
            </a:r>
            <a:r>
              <a:rPr lang="en-IN" sz="2000" dirty="0" smtClean="0">
                <a:solidFill>
                  <a:schemeClr val="tx1"/>
                </a:solidFill>
              </a:rPr>
              <a:t>Reducer output:</a:t>
            </a:r>
            <a:endParaRPr lang="en-IN" sz="2000" dirty="0">
              <a:solidFill>
                <a:schemeClr val="tx1"/>
              </a:solidFill>
            </a:endParaRPr>
          </a:p>
        </p:txBody>
      </p:sp>
      <p:sp>
        <p:nvSpPr>
          <p:cNvPr id="9" name="Rounded Rectangle 8"/>
          <p:cNvSpPr/>
          <p:nvPr/>
        </p:nvSpPr>
        <p:spPr bwMode="gray">
          <a:xfrm>
            <a:off x="554038" y="4253011"/>
            <a:ext cx="8154027" cy="1531106"/>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chemeClr val="tx1"/>
                </a:solidFill>
              </a:rPr>
              <a:t>('aardvark', 1)</a:t>
            </a:r>
          </a:p>
          <a:p>
            <a:pPr marL="233363">
              <a:spcBef>
                <a:spcPts val="200"/>
              </a:spcBef>
            </a:pPr>
            <a:r>
              <a:rPr lang="en-IN" sz="1100">
                <a:solidFill>
                  <a:schemeClr val="tx1"/>
                </a:solidFill>
              </a:rPr>
              <a:t>('cat', 1)</a:t>
            </a:r>
          </a:p>
          <a:p>
            <a:pPr marL="233363">
              <a:spcBef>
                <a:spcPts val="200"/>
              </a:spcBef>
            </a:pPr>
            <a:r>
              <a:rPr lang="en-IN" sz="1100">
                <a:solidFill>
                  <a:schemeClr val="tx1"/>
                </a:solidFill>
              </a:rPr>
              <a:t>('mat', 1)</a:t>
            </a:r>
          </a:p>
          <a:p>
            <a:pPr marL="233363">
              <a:spcBef>
                <a:spcPts val="200"/>
              </a:spcBef>
            </a:pPr>
            <a:r>
              <a:rPr lang="en-IN" sz="1100">
                <a:solidFill>
                  <a:schemeClr val="tx1"/>
                </a:solidFill>
              </a:rPr>
              <a:t>('on', 2)</a:t>
            </a:r>
          </a:p>
          <a:p>
            <a:pPr marL="233363">
              <a:spcBef>
                <a:spcPts val="200"/>
              </a:spcBef>
            </a:pPr>
            <a:r>
              <a:rPr lang="en-IN" sz="1100">
                <a:solidFill>
                  <a:schemeClr val="tx1"/>
                </a:solidFill>
              </a:rPr>
              <a:t>('sat', 2)</a:t>
            </a:r>
          </a:p>
          <a:p>
            <a:pPr marL="233363">
              <a:spcBef>
                <a:spcPts val="200"/>
              </a:spcBef>
            </a:pPr>
            <a:r>
              <a:rPr lang="en-IN" sz="1100">
                <a:solidFill>
                  <a:schemeClr val="tx1"/>
                </a:solidFill>
              </a:rPr>
              <a:t>('sofa', 1)</a:t>
            </a:r>
          </a:p>
          <a:p>
            <a:pPr marL="233363">
              <a:spcBef>
                <a:spcPts val="200"/>
              </a:spcBef>
            </a:pPr>
            <a:r>
              <a:rPr lang="en-IN" sz="1100">
                <a:solidFill>
                  <a:schemeClr val="tx1"/>
                </a:solidFill>
              </a:rPr>
              <a:t>('the', 4</a:t>
            </a:r>
          </a:p>
        </p:txBody>
      </p:sp>
      <p:sp>
        <p:nvSpPr>
          <p:cNvPr id="10" name="Rounded Rectangle 9"/>
          <p:cNvSpPr/>
          <p:nvPr/>
        </p:nvSpPr>
        <p:spPr bwMode="gray">
          <a:xfrm>
            <a:off x="554038" y="1967010"/>
            <a:ext cx="8154027" cy="1616167"/>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chemeClr val="tx1"/>
                </a:solidFill>
              </a:rPr>
              <a:t>('aardvark', [1])</a:t>
            </a:r>
          </a:p>
          <a:p>
            <a:pPr marL="233363">
              <a:spcBef>
                <a:spcPts val="200"/>
              </a:spcBef>
            </a:pPr>
            <a:r>
              <a:rPr lang="en-IN" sz="1100">
                <a:solidFill>
                  <a:schemeClr val="tx1"/>
                </a:solidFill>
              </a:rPr>
              <a:t>('cat', [1])</a:t>
            </a:r>
          </a:p>
          <a:p>
            <a:pPr marL="233363">
              <a:spcBef>
                <a:spcPts val="200"/>
              </a:spcBef>
            </a:pPr>
            <a:r>
              <a:rPr lang="en-IN" sz="1100">
                <a:solidFill>
                  <a:schemeClr val="tx1"/>
                </a:solidFill>
              </a:rPr>
              <a:t>('mat', [1])</a:t>
            </a:r>
          </a:p>
          <a:p>
            <a:pPr marL="233363">
              <a:spcBef>
                <a:spcPts val="200"/>
              </a:spcBef>
            </a:pPr>
            <a:r>
              <a:rPr lang="en-IN" sz="1100">
                <a:solidFill>
                  <a:schemeClr val="tx1"/>
                </a:solidFill>
              </a:rPr>
              <a:t>('on', [1, 1])</a:t>
            </a:r>
          </a:p>
          <a:p>
            <a:pPr marL="233363">
              <a:spcBef>
                <a:spcPts val="200"/>
              </a:spcBef>
            </a:pPr>
            <a:r>
              <a:rPr lang="en-IN" sz="1100">
                <a:solidFill>
                  <a:schemeClr val="tx1"/>
                </a:solidFill>
              </a:rPr>
              <a:t>('sat', [1, 1])</a:t>
            </a:r>
          </a:p>
          <a:p>
            <a:pPr marL="233363">
              <a:spcBef>
                <a:spcPts val="200"/>
              </a:spcBef>
            </a:pPr>
            <a:r>
              <a:rPr lang="en-IN" sz="1100">
                <a:solidFill>
                  <a:schemeClr val="tx1"/>
                </a:solidFill>
              </a:rPr>
              <a:t>('sofa', [1])</a:t>
            </a:r>
          </a:p>
          <a:p>
            <a:pPr marL="233363">
              <a:spcBef>
                <a:spcPts val="200"/>
              </a:spcBef>
            </a:pPr>
            <a:r>
              <a:rPr lang="en-IN" sz="1100">
                <a:solidFill>
                  <a:schemeClr val="tx1"/>
                </a:solidFill>
              </a:rPr>
              <a:t>('the', [1, 1, 1, 1])</a:t>
            </a:r>
          </a:p>
        </p:txBody>
      </p:sp>
    </p:spTree>
    <p:extLst>
      <p:ext uri="{BB962C8B-B14F-4D97-AF65-F5344CB8AC3E}">
        <p14:creationId xmlns:p14="http://schemas.microsoft.com/office/powerpoint/2010/main" val="1429381413"/>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MapReduce: Data Localization</a:t>
            </a:r>
            <a:endParaRPr lang="en-IN" dirty="0"/>
          </a:p>
        </p:txBody>
      </p:sp>
      <p:sp>
        <p:nvSpPr>
          <p:cNvPr id="3" name="Content Placeholder 2"/>
          <p:cNvSpPr>
            <a:spLocks noGrp="1"/>
          </p:cNvSpPr>
          <p:nvPr>
            <p:ph type="body" sz="quarter" idx="10"/>
          </p:nvPr>
        </p:nvSpPr>
        <p:spPr bwMode="gray">
          <a:xfrm>
            <a:off x="563531" y="1789806"/>
            <a:ext cx="8275670" cy="3570208"/>
          </a:xfrm>
        </p:spPr>
        <p:txBody>
          <a:bodyPr wrap="square" lIns="0" tIns="0" rIns="0" bIns="0">
            <a:spAutoFit/>
          </a:bodyPr>
          <a:lstStyle/>
          <a:p>
            <a:pPr marL="233363" indent="-233363">
              <a:lnSpc>
                <a:spcPct val="100000"/>
              </a:lnSpc>
              <a:spcBef>
                <a:spcPts val="1800"/>
              </a:spcBef>
            </a:pPr>
            <a:r>
              <a:rPr lang="en-IN" sz="2000" dirty="0" smtClean="0">
                <a:solidFill>
                  <a:schemeClr val="tx1"/>
                </a:solidFill>
              </a:rPr>
              <a:t>Whenever possible, Hadoop will attempt to ensure that a Map task on a node is working on a block of data stored locally on that node via HDFS</a:t>
            </a:r>
          </a:p>
          <a:p>
            <a:pPr marL="233363" indent="-233363">
              <a:lnSpc>
                <a:spcPct val="100000"/>
              </a:lnSpc>
              <a:spcBef>
                <a:spcPts val="1800"/>
              </a:spcBef>
            </a:pPr>
            <a:r>
              <a:rPr lang="en-IN" sz="2000" dirty="0" smtClean="0">
                <a:solidFill>
                  <a:schemeClr val="tx1"/>
                </a:solidFill>
              </a:rPr>
              <a:t>If this is not possible, the Map task will have to transfer the data across the network as it processes that data</a:t>
            </a:r>
          </a:p>
          <a:p>
            <a:pPr marL="233363" indent="-233363">
              <a:lnSpc>
                <a:spcPct val="100000"/>
              </a:lnSpc>
              <a:spcBef>
                <a:spcPts val="1800"/>
              </a:spcBef>
            </a:pPr>
            <a:r>
              <a:rPr lang="en-IN" sz="2000" dirty="0" smtClean="0">
                <a:solidFill>
                  <a:schemeClr val="tx1"/>
                </a:solidFill>
              </a:rPr>
              <a:t>Once the Map tasks have finished, data is then transferred across the network to the Reducers</a:t>
            </a:r>
          </a:p>
          <a:p>
            <a:pPr marL="457200" lvl="1" indent="-236538">
              <a:spcBef>
                <a:spcPts val="1800"/>
              </a:spcBef>
            </a:pPr>
            <a:r>
              <a:rPr lang="en-IN" sz="1800" dirty="0" smtClean="0"/>
              <a:t>Although the Reducers may run on the same physical machines as the Map tasks, there is no concept of data locality for the Reducers</a:t>
            </a:r>
          </a:p>
          <a:p>
            <a:pPr marL="690563" lvl="2" indent="-233363">
              <a:spcBef>
                <a:spcPts val="1800"/>
              </a:spcBef>
            </a:pPr>
            <a:r>
              <a:rPr lang="en-IN" sz="1600" dirty="0" smtClean="0"/>
              <a:t>All Mappers will, in general, have to communicate with all Reducers</a:t>
            </a:r>
            <a:endParaRPr lang="en-IN" sz="1600" dirty="0"/>
          </a:p>
        </p:txBody>
      </p:sp>
    </p:spTree>
    <p:extLst>
      <p:ext uri="{BB962C8B-B14F-4D97-AF65-F5344CB8AC3E}">
        <p14:creationId xmlns:p14="http://schemas.microsoft.com/office/powerpoint/2010/main" val="393346581"/>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MapReduce: Is Shuffle and Sort a Bottleneck?</a:t>
            </a:r>
            <a:endParaRPr lang="en-IN" dirty="0"/>
          </a:p>
        </p:txBody>
      </p:sp>
      <p:sp>
        <p:nvSpPr>
          <p:cNvPr id="3" name="Content Placeholder 2"/>
          <p:cNvSpPr>
            <a:spLocks noGrp="1"/>
          </p:cNvSpPr>
          <p:nvPr>
            <p:ph type="body" sz="quarter" idx="10"/>
          </p:nvPr>
        </p:nvSpPr>
        <p:spPr bwMode="gray">
          <a:xfrm>
            <a:off x="563531" y="1981200"/>
            <a:ext cx="8275670" cy="2446824"/>
          </a:xfrm>
        </p:spPr>
        <p:txBody>
          <a:bodyPr wrap="square" lIns="0" tIns="0" rIns="0" bIns="0">
            <a:spAutoFit/>
          </a:bodyPr>
          <a:lstStyle/>
          <a:p>
            <a:pPr marL="233363" indent="-233363">
              <a:lnSpc>
                <a:spcPct val="100000"/>
              </a:lnSpc>
              <a:spcBef>
                <a:spcPts val="1800"/>
              </a:spcBef>
            </a:pPr>
            <a:r>
              <a:rPr lang="en-IN" sz="2000" dirty="0" smtClean="0">
                <a:solidFill>
                  <a:schemeClr val="tx1"/>
                </a:solidFill>
              </a:rPr>
              <a:t>It appears that the shuffle and sort phase is a bottleneck</a:t>
            </a:r>
          </a:p>
          <a:p>
            <a:pPr marL="457200" lvl="1" indent="-236538">
              <a:spcBef>
                <a:spcPts val="1800"/>
              </a:spcBef>
            </a:pPr>
            <a:r>
              <a:rPr lang="en-IN" sz="1800" dirty="0" smtClean="0"/>
              <a:t>The reduce method in the Reducers cannot start until all Mappers have finished</a:t>
            </a:r>
          </a:p>
          <a:p>
            <a:pPr marL="233363" indent="-233363">
              <a:lnSpc>
                <a:spcPct val="100000"/>
              </a:lnSpc>
              <a:spcBef>
                <a:spcPts val="1800"/>
              </a:spcBef>
            </a:pPr>
            <a:r>
              <a:rPr lang="en-IN" sz="2000" dirty="0" smtClean="0">
                <a:solidFill>
                  <a:schemeClr val="tx1"/>
                </a:solidFill>
              </a:rPr>
              <a:t>In practice, Hadoop will start to transfer data from Mappers to Reducers as the Mappers finish work</a:t>
            </a:r>
          </a:p>
          <a:p>
            <a:pPr marL="457200" lvl="1" indent="-236538">
              <a:spcBef>
                <a:spcPts val="1800"/>
              </a:spcBef>
            </a:pPr>
            <a:r>
              <a:rPr lang="en-IN" sz="1800" dirty="0" smtClean="0"/>
              <a:t>This mitigates against a huge amount of data transfer starting as soon as the last Mapper finishes</a:t>
            </a:r>
            <a:endParaRPr lang="en-IN" sz="1800" dirty="0"/>
          </a:p>
        </p:txBody>
      </p:sp>
    </p:spTree>
    <p:extLst>
      <p:ext uri="{BB962C8B-B14F-4D97-AF65-F5344CB8AC3E}">
        <p14:creationId xmlns:p14="http://schemas.microsoft.com/office/powerpoint/2010/main" val="270621492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b="0"/>
              <a:t>IBM BIGDATA DEFINITION</a:t>
            </a:r>
            <a:endParaRPr lang="en-IN"/>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84200" y="1353297"/>
            <a:ext cx="8229600" cy="39775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79603530"/>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MapReduce: Is a Slow Mapper a Bottleneck?</a:t>
            </a:r>
            <a:endParaRPr lang="en-IN" dirty="0"/>
          </a:p>
        </p:txBody>
      </p:sp>
      <p:sp>
        <p:nvSpPr>
          <p:cNvPr id="3" name="Content Placeholder 2"/>
          <p:cNvSpPr>
            <a:spLocks noGrp="1"/>
          </p:cNvSpPr>
          <p:nvPr>
            <p:ph type="body" sz="quarter" idx="10"/>
          </p:nvPr>
        </p:nvSpPr>
        <p:spPr bwMode="gray">
          <a:xfrm>
            <a:off x="563531" y="1981200"/>
            <a:ext cx="8275670" cy="3683060"/>
          </a:xfrm>
        </p:spPr>
        <p:txBody>
          <a:bodyPr wrap="square" lIns="0" tIns="0" rIns="0" bIns="0">
            <a:spAutoFit/>
          </a:bodyPr>
          <a:lstStyle/>
          <a:p>
            <a:pPr marL="233363" indent="-233363">
              <a:lnSpc>
                <a:spcPct val="100000"/>
              </a:lnSpc>
              <a:spcBef>
                <a:spcPts val="1200"/>
              </a:spcBef>
            </a:pPr>
            <a:r>
              <a:rPr lang="en-IN" sz="2000" dirty="0" smtClean="0">
                <a:solidFill>
                  <a:schemeClr val="tx1"/>
                </a:solidFill>
              </a:rPr>
              <a:t>It is possible for one Map task to run more slowly than the others</a:t>
            </a:r>
          </a:p>
          <a:p>
            <a:pPr marL="457200" lvl="1" indent="-236538">
              <a:spcBef>
                <a:spcPts val="800"/>
              </a:spcBef>
            </a:pPr>
            <a:r>
              <a:rPr lang="en-IN" sz="1800" dirty="0" smtClean="0"/>
              <a:t>Perhaps due to faulty hardware, or just a very slow machine</a:t>
            </a:r>
          </a:p>
          <a:p>
            <a:pPr marL="233363" indent="-233363">
              <a:lnSpc>
                <a:spcPct val="100000"/>
              </a:lnSpc>
              <a:spcBef>
                <a:spcPts val="1200"/>
              </a:spcBef>
            </a:pPr>
            <a:r>
              <a:rPr lang="en-IN" sz="2000" dirty="0" smtClean="0">
                <a:solidFill>
                  <a:schemeClr val="tx1"/>
                </a:solidFill>
              </a:rPr>
              <a:t>It would appear that this would create a bottleneck</a:t>
            </a:r>
          </a:p>
          <a:p>
            <a:pPr marL="457200" lvl="1" indent="-236538">
              <a:spcBef>
                <a:spcPts val="800"/>
              </a:spcBef>
            </a:pPr>
            <a:r>
              <a:rPr lang="en-IN" sz="1800" dirty="0" smtClean="0"/>
              <a:t>The reduce method in the Reducer cannot start until every Mapper has finished</a:t>
            </a:r>
            <a:endParaRPr lang="en-IN" sz="2000" dirty="0" smtClean="0"/>
          </a:p>
          <a:p>
            <a:pPr marL="233363" indent="-233363">
              <a:lnSpc>
                <a:spcPct val="100000"/>
              </a:lnSpc>
              <a:spcBef>
                <a:spcPts val="1200"/>
              </a:spcBef>
            </a:pPr>
            <a:r>
              <a:rPr lang="en-IN" sz="2000" dirty="0" smtClean="0">
                <a:solidFill>
                  <a:schemeClr val="tx1"/>
                </a:solidFill>
              </a:rPr>
              <a:t>Hadoop uses speculative execution to mitigate against this</a:t>
            </a:r>
          </a:p>
          <a:p>
            <a:pPr marL="457200" lvl="1" indent="-236538">
              <a:spcBef>
                <a:spcPts val="800"/>
              </a:spcBef>
            </a:pPr>
            <a:r>
              <a:rPr lang="en-IN" sz="1800" dirty="0" smtClean="0"/>
              <a:t>If a Mapper appears to be running significantly more slowly than the others, a new instance of the Mapper will be started on another machine, operating on the same data</a:t>
            </a:r>
          </a:p>
          <a:p>
            <a:pPr marL="457200" lvl="1" indent="-236538">
              <a:spcBef>
                <a:spcPts val="800"/>
              </a:spcBef>
            </a:pPr>
            <a:r>
              <a:rPr lang="en-IN" sz="1800" dirty="0" smtClean="0"/>
              <a:t>The results of the first Mapper to finish will be used</a:t>
            </a:r>
          </a:p>
          <a:p>
            <a:pPr marL="457200" lvl="1" indent="-236538">
              <a:spcBef>
                <a:spcPts val="800"/>
              </a:spcBef>
            </a:pPr>
            <a:r>
              <a:rPr lang="en-IN" sz="1800" dirty="0" smtClean="0"/>
              <a:t>Hadoop will kill off the Mapper which is still running</a:t>
            </a:r>
            <a:endParaRPr lang="en-IN" sz="1800" dirty="0"/>
          </a:p>
        </p:txBody>
      </p:sp>
    </p:spTree>
    <p:extLst>
      <p:ext uri="{BB962C8B-B14F-4D97-AF65-F5344CB8AC3E}">
        <p14:creationId xmlns:p14="http://schemas.microsoft.com/office/powerpoint/2010/main" val="1469422881"/>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MAP REDUCE</a:t>
            </a:r>
            <a:endParaRPr lang="en-IN"/>
          </a:p>
        </p:txBody>
      </p:sp>
      <p:sp>
        <p:nvSpPr>
          <p:cNvPr id="36" name="Freeform 30"/>
          <p:cNvSpPr>
            <a:spLocks/>
          </p:cNvSpPr>
          <p:nvPr/>
        </p:nvSpPr>
        <p:spPr bwMode="gray">
          <a:xfrm>
            <a:off x="1988124" y="3336315"/>
            <a:ext cx="1495347" cy="964739"/>
          </a:xfrm>
          <a:custGeom>
            <a:avLst/>
            <a:gdLst>
              <a:gd name="T0" fmla="+- 0 8667 6960"/>
              <a:gd name="T1" fmla="*/ T0 w 3720"/>
              <a:gd name="T2" fmla="+- 0 1378 1374"/>
              <a:gd name="T3" fmla="*/ 1378 h 2400"/>
              <a:gd name="T4" fmla="+- 0 8373 6960"/>
              <a:gd name="T5" fmla="*/ T4 w 3720"/>
              <a:gd name="T6" fmla="+- 0 1409 1374"/>
              <a:gd name="T7" fmla="*/ 1409 h 2400"/>
              <a:gd name="T8" fmla="+- 0 8096 6960"/>
              <a:gd name="T9" fmla="*/ T8 w 3720"/>
              <a:gd name="T10" fmla="+- 0 1468 1374"/>
              <a:gd name="T11" fmla="*/ 1468 h 2400"/>
              <a:gd name="T12" fmla="+- 0 7840 6960"/>
              <a:gd name="T13" fmla="*/ T12 w 3720"/>
              <a:gd name="T14" fmla="+- 0 1554 1374"/>
              <a:gd name="T15" fmla="*/ 1554 h 2400"/>
              <a:gd name="T16" fmla="+- 0 7610 6960"/>
              <a:gd name="T17" fmla="*/ T16 w 3720"/>
              <a:gd name="T18" fmla="+- 0 1663 1374"/>
              <a:gd name="T19" fmla="*/ 1663 h 2400"/>
              <a:gd name="T20" fmla="+- 0 7408 6960"/>
              <a:gd name="T21" fmla="*/ T20 w 3720"/>
              <a:gd name="T22" fmla="+- 0 1793 1374"/>
              <a:gd name="T23" fmla="*/ 1793 h 2400"/>
              <a:gd name="T24" fmla="+- 0 7239 6960"/>
              <a:gd name="T25" fmla="*/ T24 w 3720"/>
              <a:gd name="T26" fmla="+- 0 1942 1374"/>
              <a:gd name="T27" fmla="*/ 1942 h 2400"/>
              <a:gd name="T28" fmla="+- 0 7106 6960"/>
              <a:gd name="T29" fmla="*/ T28 w 3720"/>
              <a:gd name="T30" fmla="+- 0 2107 1374"/>
              <a:gd name="T31" fmla="*/ 2107 h 2400"/>
              <a:gd name="T32" fmla="+- 0 7014 6960"/>
              <a:gd name="T33" fmla="*/ T32 w 3720"/>
              <a:gd name="T34" fmla="+- 0 2285 1374"/>
              <a:gd name="T35" fmla="*/ 2285 h 2400"/>
              <a:gd name="T36" fmla="+- 0 6966 6960"/>
              <a:gd name="T37" fmla="*/ T36 w 3720"/>
              <a:gd name="T38" fmla="+- 0 2475 1374"/>
              <a:gd name="T39" fmla="*/ 2475 h 2400"/>
              <a:gd name="T40" fmla="+- 0 6966 6960"/>
              <a:gd name="T41" fmla="*/ T40 w 3720"/>
              <a:gd name="T42" fmla="+- 0 2672 1374"/>
              <a:gd name="T43" fmla="*/ 2672 h 2400"/>
              <a:gd name="T44" fmla="+- 0 7014 6960"/>
              <a:gd name="T45" fmla="*/ T44 w 3720"/>
              <a:gd name="T46" fmla="+- 0 2862 1374"/>
              <a:gd name="T47" fmla="*/ 2862 h 2400"/>
              <a:gd name="T48" fmla="+- 0 7106 6960"/>
              <a:gd name="T49" fmla="*/ T48 w 3720"/>
              <a:gd name="T50" fmla="+- 0 3041 1374"/>
              <a:gd name="T51" fmla="*/ 3041 h 2400"/>
              <a:gd name="T52" fmla="+- 0 7239 6960"/>
              <a:gd name="T53" fmla="*/ T52 w 3720"/>
              <a:gd name="T54" fmla="+- 0 3206 1374"/>
              <a:gd name="T55" fmla="*/ 3206 h 2400"/>
              <a:gd name="T56" fmla="+- 0 7408 6960"/>
              <a:gd name="T57" fmla="*/ T56 w 3720"/>
              <a:gd name="T58" fmla="+- 0 3355 1374"/>
              <a:gd name="T59" fmla="*/ 3355 h 2400"/>
              <a:gd name="T60" fmla="+- 0 7610 6960"/>
              <a:gd name="T61" fmla="*/ T60 w 3720"/>
              <a:gd name="T62" fmla="+- 0 3485 1374"/>
              <a:gd name="T63" fmla="*/ 3485 h 2400"/>
              <a:gd name="T64" fmla="+- 0 7840 6960"/>
              <a:gd name="T65" fmla="*/ T64 w 3720"/>
              <a:gd name="T66" fmla="+- 0 3594 1374"/>
              <a:gd name="T67" fmla="*/ 3594 h 2400"/>
              <a:gd name="T68" fmla="+- 0 8096 6960"/>
              <a:gd name="T69" fmla="*/ T68 w 3720"/>
              <a:gd name="T70" fmla="+- 0 3680 1374"/>
              <a:gd name="T71" fmla="*/ 3680 h 2400"/>
              <a:gd name="T72" fmla="+- 0 8373 6960"/>
              <a:gd name="T73" fmla="*/ T72 w 3720"/>
              <a:gd name="T74" fmla="+- 0 3739 1374"/>
              <a:gd name="T75" fmla="*/ 3739 h 2400"/>
              <a:gd name="T76" fmla="+- 0 8667 6960"/>
              <a:gd name="T77" fmla="*/ T76 w 3720"/>
              <a:gd name="T78" fmla="+- 0 3770 1374"/>
              <a:gd name="T79" fmla="*/ 3770 h 2400"/>
              <a:gd name="T80" fmla="+- 0 8973 6960"/>
              <a:gd name="T81" fmla="*/ T80 w 3720"/>
              <a:gd name="T82" fmla="+- 0 3770 1374"/>
              <a:gd name="T83" fmla="*/ 3770 h 2400"/>
              <a:gd name="T84" fmla="+- 0 9267 6960"/>
              <a:gd name="T85" fmla="*/ T84 w 3720"/>
              <a:gd name="T86" fmla="+- 0 3739 1374"/>
              <a:gd name="T87" fmla="*/ 3739 h 2400"/>
              <a:gd name="T88" fmla="+- 0 9544 6960"/>
              <a:gd name="T89" fmla="*/ T88 w 3720"/>
              <a:gd name="T90" fmla="+- 0 3680 1374"/>
              <a:gd name="T91" fmla="*/ 3680 h 2400"/>
              <a:gd name="T92" fmla="+- 0 9800 6960"/>
              <a:gd name="T93" fmla="*/ T92 w 3720"/>
              <a:gd name="T94" fmla="+- 0 3594 1374"/>
              <a:gd name="T95" fmla="*/ 3594 h 2400"/>
              <a:gd name="T96" fmla="+- 0 10030 6960"/>
              <a:gd name="T97" fmla="*/ T96 w 3720"/>
              <a:gd name="T98" fmla="+- 0 3485 1374"/>
              <a:gd name="T99" fmla="*/ 3485 h 2400"/>
              <a:gd name="T100" fmla="+- 0 10232 6960"/>
              <a:gd name="T101" fmla="*/ T100 w 3720"/>
              <a:gd name="T102" fmla="+- 0 3355 1374"/>
              <a:gd name="T103" fmla="*/ 3355 h 2400"/>
              <a:gd name="T104" fmla="+- 0 10401 6960"/>
              <a:gd name="T105" fmla="*/ T104 w 3720"/>
              <a:gd name="T106" fmla="+- 0 3206 1374"/>
              <a:gd name="T107" fmla="*/ 3206 h 2400"/>
              <a:gd name="T108" fmla="+- 0 10534 6960"/>
              <a:gd name="T109" fmla="*/ T108 w 3720"/>
              <a:gd name="T110" fmla="+- 0 3041 1374"/>
              <a:gd name="T111" fmla="*/ 3041 h 2400"/>
              <a:gd name="T112" fmla="+- 0 10626 6960"/>
              <a:gd name="T113" fmla="*/ T112 w 3720"/>
              <a:gd name="T114" fmla="+- 0 2862 1374"/>
              <a:gd name="T115" fmla="*/ 2862 h 2400"/>
              <a:gd name="T116" fmla="+- 0 10674 6960"/>
              <a:gd name="T117" fmla="*/ T116 w 3720"/>
              <a:gd name="T118" fmla="+- 0 2672 1374"/>
              <a:gd name="T119" fmla="*/ 2672 h 2400"/>
              <a:gd name="T120" fmla="+- 0 10674 6960"/>
              <a:gd name="T121" fmla="*/ T120 w 3720"/>
              <a:gd name="T122" fmla="+- 0 2475 1374"/>
              <a:gd name="T123" fmla="*/ 2475 h 2400"/>
              <a:gd name="T124" fmla="+- 0 10626 6960"/>
              <a:gd name="T125" fmla="*/ T124 w 3720"/>
              <a:gd name="T126" fmla="+- 0 2285 1374"/>
              <a:gd name="T127" fmla="*/ 2285 h 2400"/>
              <a:gd name="T128" fmla="+- 0 10534 6960"/>
              <a:gd name="T129" fmla="*/ T128 w 3720"/>
              <a:gd name="T130" fmla="+- 0 2107 1374"/>
              <a:gd name="T131" fmla="*/ 2107 h 2400"/>
              <a:gd name="T132" fmla="+- 0 10401 6960"/>
              <a:gd name="T133" fmla="*/ T132 w 3720"/>
              <a:gd name="T134" fmla="+- 0 1942 1374"/>
              <a:gd name="T135" fmla="*/ 1942 h 2400"/>
              <a:gd name="T136" fmla="+- 0 10232 6960"/>
              <a:gd name="T137" fmla="*/ T136 w 3720"/>
              <a:gd name="T138" fmla="+- 0 1793 1374"/>
              <a:gd name="T139" fmla="*/ 1793 h 2400"/>
              <a:gd name="T140" fmla="+- 0 10030 6960"/>
              <a:gd name="T141" fmla="*/ T140 w 3720"/>
              <a:gd name="T142" fmla="+- 0 1663 1374"/>
              <a:gd name="T143" fmla="*/ 1663 h 2400"/>
              <a:gd name="T144" fmla="+- 0 9800 6960"/>
              <a:gd name="T145" fmla="*/ T144 w 3720"/>
              <a:gd name="T146" fmla="+- 0 1554 1374"/>
              <a:gd name="T147" fmla="*/ 1554 h 2400"/>
              <a:gd name="T148" fmla="+- 0 9544 6960"/>
              <a:gd name="T149" fmla="*/ T148 w 3720"/>
              <a:gd name="T150" fmla="+- 0 1468 1374"/>
              <a:gd name="T151" fmla="*/ 1468 h 2400"/>
              <a:gd name="T152" fmla="+- 0 9267 6960"/>
              <a:gd name="T153" fmla="*/ T152 w 3720"/>
              <a:gd name="T154" fmla="+- 0 1409 1374"/>
              <a:gd name="T155" fmla="*/ 1409 h 2400"/>
              <a:gd name="T156" fmla="+- 0 8973 6960"/>
              <a:gd name="T157" fmla="*/ T156 w 3720"/>
              <a:gd name="T158" fmla="+- 0 1378 1374"/>
              <a:gd name="T159" fmla="*/ 1378 h 2400"/>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3720" h="2400">
                <a:moveTo>
                  <a:pt x="1860" y="0"/>
                </a:moveTo>
                <a:lnTo>
                  <a:pt x="1707" y="4"/>
                </a:lnTo>
                <a:lnTo>
                  <a:pt x="1558" y="16"/>
                </a:lnTo>
                <a:lnTo>
                  <a:pt x="1413" y="35"/>
                </a:lnTo>
                <a:lnTo>
                  <a:pt x="1272" y="61"/>
                </a:lnTo>
                <a:lnTo>
                  <a:pt x="1136" y="94"/>
                </a:lnTo>
                <a:lnTo>
                  <a:pt x="1005" y="134"/>
                </a:lnTo>
                <a:lnTo>
                  <a:pt x="880" y="180"/>
                </a:lnTo>
                <a:lnTo>
                  <a:pt x="762" y="231"/>
                </a:lnTo>
                <a:lnTo>
                  <a:pt x="650" y="289"/>
                </a:lnTo>
                <a:lnTo>
                  <a:pt x="545" y="351"/>
                </a:lnTo>
                <a:lnTo>
                  <a:pt x="448" y="419"/>
                </a:lnTo>
                <a:lnTo>
                  <a:pt x="359" y="491"/>
                </a:lnTo>
                <a:lnTo>
                  <a:pt x="279" y="568"/>
                </a:lnTo>
                <a:lnTo>
                  <a:pt x="208" y="648"/>
                </a:lnTo>
                <a:lnTo>
                  <a:pt x="146" y="733"/>
                </a:lnTo>
                <a:lnTo>
                  <a:pt x="95" y="821"/>
                </a:lnTo>
                <a:lnTo>
                  <a:pt x="54" y="911"/>
                </a:lnTo>
                <a:lnTo>
                  <a:pt x="24" y="1005"/>
                </a:lnTo>
                <a:lnTo>
                  <a:pt x="6" y="1101"/>
                </a:lnTo>
                <a:lnTo>
                  <a:pt x="0" y="1200"/>
                </a:lnTo>
                <a:lnTo>
                  <a:pt x="6" y="1298"/>
                </a:lnTo>
                <a:lnTo>
                  <a:pt x="24" y="1394"/>
                </a:lnTo>
                <a:lnTo>
                  <a:pt x="54" y="1488"/>
                </a:lnTo>
                <a:lnTo>
                  <a:pt x="95" y="1579"/>
                </a:lnTo>
                <a:lnTo>
                  <a:pt x="146" y="1667"/>
                </a:lnTo>
                <a:lnTo>
                  <a:pt x="208" y="1751"/>
                </a:lnTo>
                <a:lnTo>
                  <a:pt x="279" y="1832"/>
                </a:lnTo>
                <a:lnTo>
                  <a:pt x="359" y="1909"/>
                </a:lnTo>
                <a:lnTo>
                  <a:pt x="448" y="1981"/>
                </a:lnTo>
                <a:lnTo>
                  <a:pt x="545" y="2048"/>
                </a:lnTo>
                <a:lnTo>
                  <a:pt x="650" y="2111"/>
                </a:lnTo>
                <a:lnTo>
                  <a:pt x="762" y="2168"/>
                </a:lnTo>
                <a:lnTo>
                  <a:pt x="880" y="2220"/>
                </a:lnTo>
                <a:lnTo>
                  <a:pt x="1005" y="2266"/>
                </a:lnTo>
                <a:lnTo>
                  <a:pt x="1136" y="2306"/>
                </a:lnTo>
                <a:lnTo>
                  <a:pt x="1272" y="2339"/>
                </a:lnTo>
                <a:lnTo>
                  <a:pt x="1413" y="2365"/>
                </a:lnTo>
                <a:lnTo>
                  <a:pt x="1558" y="2384"/>
                </a:lnTo>
                <a:lnTo>
                  <a:pt x="1707" y="2396"/>
                </a:lnTo>
                <a:lnTo>
                  <a:pt x="1860" y="2400"/>
                </a:lnTo>
                <a:lnTo>
                  <a:pt x="2013" y="2396"/>
                </a:lnTo>
                <a:lnTo>
                  <a:pt x="2162" y="2384"/>
                </a:lnTo>
                <a:lnTo>
                  <a:pt x="2307" y="2365"/>
                </a:lnTo>
                <a:lnTo>
                  <a:pt x="2448" y="2339"/>
                </a:lnTo>
                <a:lnTo>
                  <a:pt x="2584" y="2306"/>
                </a:lnTo>
                <a:lnTo>
                  <a:pt x="2715" y="2266"/>
                </a:lnTo>
                <a:lnTo>
                  <a:pt x="2840" y="2220"/>
                </a:lnTo>
                <a:lnTo>
                  <a:pt x="2958" y="2168"/>
                </a:lnTo>
                <a:lnTo>
                  <a:pt x="3070" y="2111"/>
                </a:lnTo>
                <a:lnTo>
                  <a:pt x="3175" y="2048"/>
                </a:lnTo>
                <a:lnTo>
                  <a:pt x="3272" y="1981"/>
                </a:lnTo>
                <a:lnTo>
                  <a:pt x="3361" y="1909"/>
                </a:lnTo>
                <a:lnTo>
                  <a:pt x="3441" y="1832"/>
                </a:lnTo>
                <a:lnTo>
                  <a:pt x="3512" y="1751"/>
                </a:lnTo>
                <a:lnTo>
                  <a:pt x="3574" y="1667"/>
                </a:lnTo>
                <a:lnTo>
                  <a:pt x="3625" y="1579"/>
                </a:lnTo>
                <a:lnTo>
                  <a:pt x="3666" y="1488"/>
                </a:lnTo>
                <a:lnTo>
                  <a:pt x="3696" y="1394"/>
                </a:lnTo>
                <a:lnTo>
                  <a:pt x="3714" y="1298"/>
                </a:lnTo>
                <a:lnTo>
                  <a:pt x="3720" y="1200"/>
                </a:lnTo>
                <a:lnTo>
                  <a:pt x="3714" y="1101"/>
                </a:lnTo>
                <a:lnTo>
                  <a:pt x="3696" y="1005"/>
                </a:lnTo>
                <a:lnTo>
                  <a:pt x="3666" y="911"/>
                </a:lnTo>
                <a:lnTo>
                  <a:pt x="3625" y="821"/>
                </a:lnTo>
                <a:lnTo>
                  <a:pt x="3574" y="733"/>
                </a:lnTo>
                <a:lnTo>
                  <a:pt x="3512" y="648"/>
                </a:lnTo>
                <a:lnTo>
                  <a:pt x="3441" y="568"/>
                </a:lnTo>
                <a:lnTo>
                  <a:pt x="3361" y="491"/>
                </a:lnTo>
                <a:lnTo>
                  <a:pt x="3272" y="419"/>
                </a:lnTo>
                <a:lnTo>
                  <a:pt x="3175" y="351"/>
                </a:lnTo>
                <a:lnTo>
                  <a:pt x="3070" y="289"/>
                </a:lnTo>
                <a:lnTo>
                  <a:pt x="2958" y="231"/>
                </a:lnTo>
                <a:lnTo>
                  <a:pt x="2840" y="180"/>
                </a:lnTo>
                <a:lnTo>
                  <a:pt x="2715" y="134"/>
                </a:lnTo>
                <a:lnTo>
                  <a:pt x="2584" y="94"/>
                </a:lnTo>
                <a:lnTo>
                  <a:pt x="2448" y="61"/>
                </a:lnTo>
                <a:lnTo>
                  <a:pt x="2307" y="35"/>
                </a:lnTo>
                <a:lnTo>
                  <a:pt x="2162" y="16"/>
                </a:lnTo>
                <a:lnTo>
                  <a:pt x="2013" y="4"/>
                </a:lnTo>
                <a:lnTo>
                  <a:pt x="1860" y="0"/>
                </a:ln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1600">
                <a:solidFill>
                  <a:schemeClr val="bg1"/>
                </a:solidFill>
              </a:rPr>
              <a:t>MapReduce</a:t>
            </a:r>
            <a:endParaRPr lang="en-IN" sz="1600">
              <a:solidFill>
                <a:schemeClr val="bg1"/>
              </a:solidFill>
            </a:endParaRPr>
          </a:p>
        </p:txBody>
      </p:sp>
      <p:sp>
        <p:nvSpPr>
          <p:cNvPr id="32" name="Freeform 32"/>
          <p:cNvSpPr>
            <a:spLocks/>
          </p:cNvSpPr>
          <p:nvPr/>
        </p:nvSpPr>
        <p:spPr bwMode="gray">
          <a:xfrm>
            <a:off x="2084598" y="2902182"/>
            <a:ext cx="410819" cy="436947"/>
          </a:xfrm>
          <a:custGeom>
            <a:avLst/>
            <a:gdLst>
              <a:gd name="T0" fmla="+- 0 7289 7200"/>
              <a:gd name="T1" fmla="*/ T0 w 1022"/>
              <a:gd name="T2" fmla="+- 0 374 294"/>
              <a:gd name="T3" fmla="*/ 374 h 1087"/>
              <a:gd name="T4" fmla="+- 0 7275 7200"/>
              <a:gd name="T5" fmla="*/ T4 w 1022"/>
              <a:gd name="T6" fmla="+- 0 388 294"/>
              <a:gd name="T7" fmla="*/ 388 h 1087"/>
              <a:gd name="T8" fmla="+- 0 8208 7200"/>
              <a:gd name="T9" fmla="*/ T8 w 1022"/>
              <a:gd name="T10" fmla="+- 0 1381 294"/>
              <a:gd name="T11" fmla="*/ 1381 h 1087"/>
              <a:gd name="T12" fmla="+- 0 8222 7200"/>
              <a:gd name="T13" fmla="*/ T12 w 1022"/>
              <a:gd name="T14" fmla="+- 0 1367 294"/>
              <a:gd name="T15" fmla="*/ 1367 h 1087"/>
              <a:gd name="T16" fmla="+- 0 7289 7200"/>
              <a:gd name="T17" fmla="*/ T16 w 1022"/>
              <a:gd name="T18" fmla="+- 0 374 294"/>
              <a:gd name="T19" fmla="*/ 374 h 1087"/>
            </a:gdLst>
            <a:ahLst/>
            <a:cxnLst>
              <a:cxn ang="0">
                <a:pos x="T1" y="T3"/>
              </a:cxn>
              <a:cxn ang="0">
                <a:pos x="T5" y="T7"/>
              </a:cxn>
              <a:cxn ang="0">
                <a:pos x="T9" y="T11"/>
              </a:cxn>
              <a:cxn ang="0">
                <a:pos x="T13" y="T15"/>
              </a:cxn>
              <a:cxn ang="0">
                <a:pos x="T17" y="T19"/>
              </a:cxn>
            </a:cxnLst>
            <a:rect l="0" t="0" r="r" b="b"/>
            <a:pathLst>
              <a:path w="1022" h="1087">
                <a:moveTo>
                  <a:pt x="89" y="80"/>
                </a:moveTo>
                <a:lnTo>
                  <a:pt x="75" y="94"/>
                </a:lnTo>
                <a:lnTo>
                  <a:pt x="1008" y="1087"/>
                </a:lnTo>
                <a:lnTo>
                  <a:pt x="1022" y="1073"/>
                </a:lnTo>
                <a:lnTo>
                  <a:pt x="89" y="80"/>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en-IN"/>
          </a:p>
        </p:txBody>
      </p:sp>
      <p:sp>
        <p:nvSpPr>
          <p:cNvPr id="33" name="Freeform 33"/>
          <p:cNvSpPr>
            <a:spLocks/>
          </p:cNvSpPr>
          <p:nvPr/>
        </p:nvSpPr>
        <p:spPr bwMode="gray">
          <a:xfrm>
            <a:off x="2084598" y="2902182"/>
            <a:ext cx="410819" cy="436947"/>
          </a:xfrm>
          <a:custGeom>
            <a:avLst/>
            <a:gdLst>
              <a:gd name="T0" fmla="+- 0 7200 7200"/>
              <a:gd name="T1" fmla="*/ T0 w 1022"/>
              <a:gd name="T2" fmla="+- 0 294 294"/>
              <a:gd name="T3" fmla="*/ 294 h 1087"/>
              <a:gd name="T4" fmla="+- 0 7238 7200"/>
              <a:gd name="T5" fmla="*/ T4 w 1022"/>
              <a:gd name="T6" fmla="+- 0 422 294"/>
              <a:gd name="T7" fmla="*/ 422 h 1087"/>
              <a:gd name="T8" fmla="+- 0 7275 7200"/>
              <a:gd name="T9" fmla="*/ T8 w 1022"/>
              <a:gd name="T10" fmla="+- 0 388 294"/>
              <a:gd name="T11" fmla="*/ 388 h 1087"/>
              <a:gd name="T12" fmla="+- 0 7261 7200"/>
              <a:gd name="T13" fmla="*/ T12 w 1022"/>
              <a:gd name="T14" fmla="+- 0 374 294"/>
              <a:gd name="T15" fmla="*/ 374 h 1087"/>
              <a:gd name="T16" fmla="+- 0 7276 7200"/>
              <a:gd name="T17" fmla="*/ T16 w 1022"/>
              <a:gd name="T18" fmla="+- 0 360 294"/>
              <a:gd name="T19" fmla="*/ 360 h 1087"/>
              <a:gd name="T20" fmla="+- 0 7305 7200"/>
              <a:gd name="T21" fmla="*/ T20 w 1022"/>
              <a:gd name="T22" fmla="+- 0 360 294"/>
              <a:gd name="T23" fmla="*/ 360 h 1087"/>
              <a:gd name="T24" fmla="+- 0 7326 7200"/>
              <a:gd name="T25" fmla="*/ T24 w 1022"/>
              <a:gd name="T26" fmla="+- 0 340 294"/>
              <a:gd name="T27" fmla="*/ 340 h 1087"/>
              <a:gd name="T28" fmla="+- 0 7200 7200"/>
              <a:gd name="T29" fmla="*/ T28 w 1022"/>
              <a:gd name="T30" fmla="+- 0 294 294"/>
              <a:gd name="T31" fmla="*/ 294 h 1087"/>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1022" h="1087">
                <a:moveTo>
                  <a:pt x="0" y="0"/>
                </a:moveTo>
                <a:lnTo>
                  <a:pt x="38" y="128"/>
                </a:lnTo>
                <a:lnTo>
                  <a:pt x="75" y="94"/>
                </a:lnTo>
                <a:lnTo>
                  <a:pt x="61" y="80"/>
                </a:lnTo>
                <a:lnTo>
                  <a:pt x="76" y="66"/>
                </a:lnTo>
                <a:lnTo>
                  <a:pt x="105" y="66"/>
                </a:lnTo>
                <a:lnTo>
                  <a:pt x="126" y="46"/>
                </a:lnTo>
                <a:lnTo>
                  <a:pt x="0" y="0"/>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en-IN"/>
          </a:p>
        </p:txBody>
      </p:sp>
      <p:sp>
        <p:nvSpPr>
          <p:cNvPr id="34" name="Freeform 34"/>
          <p:cNvSpPr>
            <a:spLocks/>
          </p:cNvSpPr>
          <p:nvPr/>
        </p:nvSpPr>
        <p:spPr bwMode="gray">
          <a:xfrm>
            <a:off x="2084598" y="2902182"/>
            <a:ext cx="410819" cy="436947"/>
          </a:xfrm>
          <a:custGeom>
            <a:avLst/>
            <a:gdLst>
              <a:gd name="T0" fmla="+- 0 7276 7200"/>
              <a:gd name="T1" fmla="*/ T0 w 1022"/>
              <a:gd name="T2" fmla="+- 0 360 294"/>
              <a:gd name="T3" fmla="*/ 360 h 1087"/>
              <a:gd name="T4" fmla="+- 0 7261 7200"/>
              <a:gd name="T5" fmla="*/ T4 w 1022"/>
              <a:gd name="T6" fmla="+- 0 374 294"/>
              <a:gd name="T7" fmla="*/ 374 h 1087"/>
              <a:gd name="T8" fmla="+- 0 7275 7200"/>
              <a:gd name="T9" fmla="*/ T8 w 1022"/>
              <a:gd name="T10" fmla="+- 0 388 294"/>
              <a:gd name="T11" fmla="*/ 388 h 1087"/>
              <a:gd name="T12" fmla="+- 0 7289 7200"/>
              <a:gd name="T13" fmla="*/ T12 w 1022"/>
              <a:gd name="T14" fmla="+- 0 374 294"/>
              <a:gd name="T15" fmla="*/ 374 h 1087"/>
              <a:gd name="T16" fmla="+- 0 7276 7200"/>
              <a:gd name="T17" fmla="*/ T16 w 1022"/>
              <a:gd name="T18" fmla="+- 0 360 294"/>
              <a:gd name="T19" fmla="*/ 360 h 1087"/>
            </a:gdLst>
            <a:ahLst/>
            <a:cxnLst>
              <a:cxn ang="0">
                <a:pos x="T1" y="T3"/>
              </a:cxn>
              <a:cxn ang="0">
                <a:pos x="T5" y="T7"/>
              </a:cxn>
              <a:cxn ang="0">
                <a:pos x="T9" y="T11"/>
              </a:cxn>
              <a:cxn ang="0">
                <a:pos x="T13" y="T15"/>
              </a:cxn>
              <a:cxn ang="0">
                <a:pos x="T17" y="T19"/>
              </a:cxn>
            </a:cxnLst>
            <a:rect l="0" t="0" r="r" b="b"/>
            <a:pathLst>
              <a:path w="1022" h="1087">
                <a:moveTo>
                  <a:pt x="76" y="66"/>
                </a:moveTo>
                <a:lnTo>
                  <a:pt x="61" y="80"/>
                </a:lnTo>
                <a:lnTo>
                  <a:pt x="75" y="94"/>
                </a:lnTo>
                <a:lnTo>
                  <a:pt x="89" y="80"/>
                </a:lnTo>
                <a:lnTo>
                  <a:pt x="76" y="66"/>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en-IN"/>
          </a:p>
        </p:txBody>
      </p:sp>
      <p:sp>
        <p:nvSpPr>
          <p:cNvPr id="35" name="Freeform 35"/>
          <p:cNvSpPr>
            <a:spLocks/>
          </p:cNvSpPr>
          <p:nvPr/>
        </p:nvSpPr>
        <p:spPr bwMode="gray">
          <a:xfrm>
            <a:off x="2084598" y="2902182"/>
            <a:ext cx="410819" cy="436947"/>
          </a:xfrm>
          <a:custGeom>
            <a:avLst/>
            <a:gdLst>
              <a:gd name="T0" fmla="+- 0 7305 7200"/>
              <a:gd name="T1" fmla="*/ T0 w 1022"/>
              <a:gd name="T2" fmla="+- 0 360 294"/>
              <a:gd name="T3" fmla="*/ 360 h 1087"/>
              <a:gd name="T4" fmla="+- 0 7276 7200"/>
              <a:gd name="T5" fmla="*/ T4 w 1022"/>
              <a:gd name="T6" fmla="+- 0 360 294"/>
              <a:gd name="T7" fmla="*/ 360 h 1087"/>
              <a:gd name="T8" fmla="+- 0 7289 7200"/>
              <a:gd name="T9" fmla="*/ T8 w 1022"/>
              <a:gd name="T10" fmla="+- 0 374 294"/>
              <a:gd name="T11" fmla="*/ 374 h 1087"/>
              <a:gd name="T12" fmla="+- 0 7305 7200"/>
              <a:gd name="T13" fmla="*/ T12 w 1022"/>
              <a:gd name="T14" fmla="+- 0 360 294"/>
              <a:gd name="T15" fmla="*/ 360 h 1087"/>
            </a:gdLst>
            <a:ahLst/>
            <a:cxnLst>
              <a:cxn ang="0">
                <a:pos x="T1" y="T3"/>
              </a:cxn>
              <a:cxn ang="0">
                <a:pos x="T5" y="T7"/>
              </a:cxn>
              <a:cxn ang="0">
                <a:pos x="T9" y="T11"/>
              </a:cxn>
              <a:cxn ang="0">
                <a:pos x="T13" y="T15"/>
              </a:cxn>
            </a:cxnLst>
            <a:rect l="0" t="0" r="r" b="b"/>
            <a:pathLst>
              <a:path w="1022" h="1087">
                <a:moveTo>
                  <a:pt x="105" y="66"/>
                </a:moveTo>
                <a:lnTo>
                  <a:pt x="76" y="66"/>
                </a:lnTo>
                <a:lnTo>
                  <a:pt x="89" y="80"/>
                </a:lnTo>
                <a:lnTo>
                  <a:pt x="105" y="66"/>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en-IN"/>
          </a:p>
        </p:txBody>
      </p:sp>
      <p:sp>
        <p:nvSpPr>
          <p:cNvPr id="41" name="Freeform 38"/>
          <p:cNvSpPr>
            <a:spLocks/>
          </p:cNvSpPr>
          <p:nvPr/>
        </p:nvSpPr>
        <p:spPr bwMode="gray">
          <a:xfrm>
            <a:off x="2896990" y="2817767"/>
            <a:ext cx="248823" cy="484379"/>
          </a:xfrm>
          <a:custGeom>
            <a:avLst/>
            <a:gdLst>
              <a:gd name="T0" fmla="+- 0 9777 9221"/>
              <a:gd name="T1" fmla="*/ T0 w 619"/>
              <a:gd name="T2" fmla="+- 0 1278 1176"/>
              <a:gd name="T3" fmla="*/ 1278 h 1205"/>
              <a:gd name="T4" fmla="+- 0 9221 9221"/>
              <a:gd name="T5" fmla="*/ T4 w 619"/>
              <a:gd name="T6" fmla="+- 0 2371 1176"/>
              <a:gd name="T7" fmla="*/ 2371 h 1205"/>
              <a:gd name="T8" fmla="+- 0 9239 9221"/>
              <a:gd name="T9" fmla="*/ T8 w 619"/>
              <a:gd name="T10" fmla="+- 0 2381 1176"/>
              <a:gd name="T11" fmla="*/ 2381 h 1205"/>
              <a:gd name="T12" fmla="+- 0 9795 9221"/>
              <a:gd name="T13" fmla="*/ T12 w 619"/>
              <a:gd name="T14" fmla="+- 0 1287 1176"/>
              <a:gd name="T15" fmla="*/ 1287 h 1205"/>
              <a:gd name="T16" fmla="+- 0 9777 9221"/>
              <a:gd name="T17" fmla="*/ T16 w 619"/>
              <a:gd name="T18" fmla="+- 0 1278 1176"/>
              <a:gd name="T19" fmla="*/ 1278 h 1205"/>
            </a:gdLst>
            <a:ahLst/>
            <a:cxnLst>
              <a:cxn ang="0">
                <a:pos x="T1" y="T3"/>
              </a:cxn>
              <a:cxn ang="0">
                <a:pos x="T5" y="T7"/>
              </a:cxn>
              <a:cxn ang="0">
                <a:pos x="T9" y="T11"/>
              </a:cxn>
              <a:cxn ang="0">
                <a:pos x="T13" y="T15"/>
              </a:cxn>
              <a:cxn ang="0">
                <a:pos x="T17" y="T19"/>
              </a:cxn>
            </a:cxnLst>
            <a:rect l="0" t="0" r="r" b="b"/>
            <a:pathLst>
              <a:path w="619" h="1205">
                <a:moveTo>
                  <a:pt x="556" y="102"/>
                </a:moveTo>
                <a:lnTo>
                  <a:pt x="0" y="1195"/>
                </a:lnTo>
                <a:lnTo>
                  <a:pt x="18" y="1205"/>
                </a:lnTo>
                <a:lnTo>
                  <a:pt x="574" y="111"/>
                </a:lnTo>
                <a:lnTo>
                  <a:pt x="556" y="102"/>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en-IN"/>
          </a:p>
        </p:txBody>
      </p:sp>
      <p:sp>
        <p:nvSpPr>
          <p:cNvPr id="42" name="Freeform 39"/>
          <p:cNvSpPr>
            <a:spLocks/>
          </p:cNvSpPr>
          <p:nvPr/>
        </p:nvSpPr>
        <p:spPr bwMode="gray">
          <a:xfrm>
            <a:off x="2896990" y="2817767"/>
            <a:ext cx="248823" cy="484379"/>
          </a:xfrm>
          <a:custGeom>
            <a:avLst/>
            <a:gdLst>
              <a:gd name="T0" fmla="+- 0 9840 9221"/>
              <a:gd name="T1" fmla="*/ T0 w 619"/>
              <a:gd name="T2" fmla="+- 0 1261 1176"/>
              <a:gd name="T3" fmla="*/ 1261 h 1205"/>
              <a:gd name="T4" fmla="+- 0 9786 9221"/>
              <a:gd name="T5" fmla="*/ T4 w 619"/>
              <a:gd name="T6" fmla="+- 0 1261 1176"/>
              <a:gd name="T7" fmla="*/ 1261 h 1205"/>
              <a:gd name="T8" fmla="+- 0 9804 9221"/>
              <a:gd name="T9" fmla="*/ T8 w 619"/>
              <a:gd name="T10" fmla="+- 0 1270 1176"/>
              <a:gd name="T11" fmla="*/ 1270 h 1205"/>
              <a:gd name="T12" fmla="+- 0 9795 9221"/>
              <a:gd name="T13" fmla="*/ T12 w 619"/>
              <a:gd name="T14" fmla="+- 0 1287 1176"/>
              <a:gd name="T15" fmla="*/ 1287 h 1205"/>
              <a:gd name="T16" fmla="+- 0 9839 9221"/>
              <a:gd name="T17" fmla="*/ T16 w 619"/>
              <a:gd name="T18" fmla="+- 0 1310 1176"/>
              <a:gd name="T19" fmla="*/ 1310 h 1205"/>
              <a:gd name="T20" fmla="+- 0 9840 9221"/>
              <a:gd name="T21" fmla="*/ T20 w 619"/>
              <a:gd name="T22" fmla="+- 0 1261 1176"/>
              <a:gd name="T23" fmla="*/ 1261 h 1205"/>
            </a:gdLst>
            <a:ahLst/>
            <a:cxnLst>
              <a:cxn ang="0">
                <a:pos x="T1" y="T3"/>
              </a:cxn>
              <a:cxn ang="0">
                <a:pos x="T5" y="T7"/>
              </a:cxn>
              <a:cxn ang="0">
                <a:pos x="T9" y="T11"/>
              </a:cxn>
              <a:cxn ang="0">
                <a:pos x="T13" y="T15"/>
              </a:cxn>
              <a:cxn ang="0">
                <a:pos x="T17" y="T19"/>
              </a:cxn>
              <a:cxn ang="0">
                <a:pos x="T21" y="T23"/>
              </a:cxn>
            </a:cxnLst>
            <a:rect l="0" t="0" r="r" b="b"/>
            <a:pathLst>
              <a:path w="619" h="1205">
                <a:moveTo>
                  <a:pt x="619" y="85"/>
                </a:moveTo>
                <a:lnTo>
                  <a:pt x="565" y="85"/>
                </a:lnTo>
                <a:lnTo>
                  <a:pt x="583" y="94"/>
                </a:lnTo>
                <a:lnTo>
                  <a:pt x="574" y="111"/>
                </a:lnTo>
                <a:lnTo>
                  <a:pt x="618" y="134"/>
                </a:lnTo>
                <a:lnTo>
                  <a:pt x="619" y="85"/>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en-IN"/>
          </a:p>
        </p:txBody>
      </p:sp>
      <p:sp>
        <p:nvSpPr>
          <p:cNvPr id="43" name="Freeform 40"/>
          <p:cNvSpPr>
            <a:spLocks/>
          </p:cNvSpPr>
          <p:nvPr/>
        </p:nvSpPr>
        <p:spPr bwMode="gray">
          <a:xfrm>
            <a:off x="2896990" y="2817767"/>
            <a:ext cx="248823" cy="484379"/>
          </a:xfrm>
          <a:custGeom>
            <a:avLst/>
            <a:gdLst>
              <a:gd name="T0" fmla="+- 0 9786 9221"/>
              <a:gd name="T1" fmla="*/ T0 w 619"/>
              <a:gd name="T2" fmla="+- 0 1261 1176"/>
              <a:gd name="T3" fmla="*/ 1261 h 1205"/>
              <a:gd name="T4" fmla="+- 0 9777 9221"/>
              <a:gd name="T5" fmla="*/ T4 w 619"/>
              <a:gd name="T6" fmla="+- 0 1278 1176"/>
              <a:gd name="T7" fmla="*/ 1278 h 1205"/>
              <a:gd name="T8" fmla="+- 0 9795 9221"/>
              <a:gd name="T9" fmla="*/ T8 w 619"/>
              <a:gd name="T10" fmla="+- 0 1287 1176"/>
              <a:gd name="T11" fmla="*/ 1287 h 1205"/>
              <a:gd name="T12" fmla="+- 0 9804 9221"/>
              <a:gd name="T13" fmla="*/ T12 w 619"/>
              <a:gd name="T14" fmla="+- 0 1270 1176"/>
              <a:gd name="T15" fmla="*/ 1270 h 1205"/>
              <a:gd name="T16" fmla="+- 0 9786 9221"/>
              <a:gd name="T17" fmla="*/ T16 w 619"/>
              <a:gd name="T18" fmla="+- 0 1261 1176"/>
              <a:gd name="T19" fmla="*/ 1261 h 1205"/>
            </a:gdLst>
            <a:ahLst/>
            <a:cxnLst>
              <a:cxn ang="0">
                <a:pos x="T1" y="T3"/>
              </a:cxn>
              <a:cxn ang="0">
                <a:pos x="T5" y="T7"/>
              </a:cxn>
              <a:cxn ang="0">
                <a:pos x="T9" y="T11"/>
              </a:cxn>
              <a:cxn ang="0">
                <a:pos x="T13" y="T15"/>
              </a:cxn>
              <a:cxn ang="0">
                <a:pos x="T17" y="T19"/>
              </a:cxn>
            </a:cxnLst>
            <a:rect l="0" t="0" r="r" b="b"/>
            <a:pathLst>
              <a:path w="619" h="1205">
                <a:moveTo>
                  <a:pt x="565" y="85"/>
                </a:moveTo>
                <a:lnTo>
                  <a:pt x="556" y="102"/>
                </a:lnTo>
                <a:lnTo>
                  <a:pt x="574" y="111"/>
                </a:lnTo>
                <a:lnTo>
                  <a:pt x="583" y="94"/>
                </a:lnTo>
                <a:lnTo>
                  <a:pt x="565" y="85"/>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en-IN"/>
          </a:p>
        </p:txBody>
      </p:sp>
      <p:sp>
        <p:nvSpPr>
          <p:cNvPr id="44" name="Freeform 41"/>
          <p:cNvSpPr>
            <a:spLocks/>
          </p:cNvSpPr>
          <p:nvPr/>
        </p:nvSpPr>
        <p:spPr bwMode="gray">
          <a:xfrm>
            <a:off x="2896990" y="2817767"/>
            <a:ext cx="248823" cy="484379"/>
          </a:xfrm>
          <a:custGeom>
            <a:avLst/>
            <a:gdLst>
              <a:gd name="T0" fmla="+- 0 9840 9221"/>
              <a:gd name="T1" fmla="*/ T0 w 619"/>
              <a:gd name="T2" fmla="+- 0 1176 1176"/>
              <a:gd name="T3" fmla="*/ 1176 h 1205"/>
              <a:gd name="T4" fmla="+- 0 9732 9221"/>
              <a:gd name="T5" fmla="*/ T4 w 619"/>
              <a:gd name="T6" fmla="+- 0 1256 1176"/>
              <a:gd name="T7" fmla="*/ 1256 h 1205"/>
              <a:gd name="T8" fmla="+- 0 9777 9221"/>
              <a:gd name="T9" fmla="*/ T8 w 619"/>
              <a:gd name="T10" fmla="+- 0 1278 1176"/>
              <a:gd name="T11" fmla="*/ 1278 h 1205"/>
              <a:gd name="T12" fmla="+- 0 9786 9221"/>
              <a:gd name="T13" fmla="*/ T12 w 619"/>
              <a:gd name="T14" fmla="+- 0 1261 1176"/>
              <a:gd name="T15" fmla="*/ 1261 h 1205"/>
              <a:gd name="T16" fmla="+- 0 9840 9221"/>
              <a:gd name="T17" fmla="*/ T16 w 619"/>
              <a:gd name="T18" fmla="+- 0 1261 1176"/>
              <a:gd name="T19" fmla="*/ 1261 h 1205"/>
              <a:gd name="T20" fmla="+- 0 9840 9221"/>
              <a:gd name="T21" fmla="*/ T20 w 619"/>
              <a:gd name="T22" fmla="+- 0 1176 1176"/>
              <a:gd name="T23" fmla="*/ 1176 h 1205"/>
            </a:gdLst>
            <a:ahLst/>
            <a:cxnLst>
              <a:cxn ang="0">
                <a:pos x="T1" y="T3"/>
              </a:cxn>
              <a:cxn ang="0">
                <a:pos x="T5" y="T7"/>
              </a:cxn>
              <a:cxn ang="0">
                <a:pos x="T9" y="T11"/>
              </a:cxn>
              <a:cxn ang="0">
                <a:pos x="T13" y="T15"/>
              </a:cxn>
              <a:cxn ang="0">
                <a:pos x="T17" y="T19"/>
              </a:cxn>
              <a:cxn ang="0">
                <a:pos x="T21" y="T23"/>
              </a:cxn>
            </a:cxnLst>
            <a:rect l="0" t="0" r="r" b="b"/>
            <a:pathLst>
              <a:path w="619" h="1205">
                <a:moveTo>
                  <a:pt x="619" y="0"/>
                </a:moveTo>
                <a:lnTo>
                  <a:pt x="511" y="80"/>
                </a:lnTo>
                <a:lnTo>
                  <a:pt x="556" y="102"/>
                </a:lnTo>
                <a:lnTo>
                  <a:pt x="565" y="85"/>
                </a:lnTo>
                <a:lnTo>
                  <a:pt x="619" y="85"/>
                </a:lnTo>
                <a:lnTo>
                  <a:pt x="619" y="0"/>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en-IN"/>
          </a:p>
        </p:txBody>
      </p:sp>
      <p:sp>
        <p:nvSpPr>
          <p:cNvPr id="40" name="Freeform 43"/>
          <p:cNvSpPr>
            <a:spLocks/>
          </p:cNvSpPr>
          <p:nvPr/>
        </p:nvSpPr>
        <p:spPr bwMode="gray">
          <a:xfrm>
            <a:off x="2832272" y="2238923"/>
            <a:ext cx="868266" cy="551911"/>
          </a:xfrm>
          <a:custGeom>
            <a:avLst/>
            <a:gdLst>
              <a:gd name="T0" fmla="+- 0 10051 9060"/>
              <a:gd name="T1" fmla="*/ T0 w 2160"/>
              <a:gd name="T2" fmla="+- 0 -262 -264"/>
              <a:gd name="T3" fmla="*/ -262 h 1373"/>
              <a:gd name="T4" fmla="+- 0 9880 9060"/>
              <a:gd name="T5" fmla="*/ T4 w 2160"/>
              <a:gd name="T6" fmla="+- 0 -244 -264"/>
              <a:gd name="T7" fmla="*/ -244 h 1373"/>
              <a:gd name="T8" fmla="+- 0 9720 9060"/>
              <a:gd name="T9" fmla="*/ T8 w 2160"/>
              <a:gd name="T10" fmla="+- 0 -210 -264"/>
              <a:gd name="T11" fmla="*/ -210 h 1373"/>
              <a:gd name="T12" fmla="+- 0 9571 9060"/>
              <a:gd name="T13" fmla="*/ T12 w 2160"/>
              <a:gd name="T14" fmla="+- 0 -161 -264"/>
              <a:gd name="T15" fmla="*/ -161 h 1373"/>
              <a:gd name="T16" fmla="+- 0 9437 9060"/>
              <a:gd name="T17" fmla="*/ T16 w 2160"/>
              <a:gd name="T18" fmla="+- 0 -99 -264"/>
              <a:gd name="T19" fmla="*/ -99 h 1373"/>
              <a:gd name="T20" fmla="+- 0 9320 9060"/>
              <a:gd name="T21" fmla="*/ T20 w 2160"/>
              <a:gd name="T22" fmla="+- 0 -24 -264"/>
              <a:gd name="T23" fmla="*/ -24 h 1373"/>
              <a:gd name="T24" fmla="+- 0 9222 9060"/>
              <a:gd name="T25" fmla="*/ T24 w 2160"/>
              <a:gd name="T26" fmla="+- 0 61 -264"/>
              <a:gd name="T27" fmla="*/ 61 h 1373"/>
              <a:gd name="T28" fmla="+- 0 9145 9060"/>
              <a:gd name="T29" fmla="*/ T28 w 2160"/>
              <a:gd name="T30" fmla="+- 0 155 -264"/>
              <a:gd name="T31" fmla="*/ 155 h 1373"/>
              <a:gd name="T32" fmla="+- 0 9064 9060"/>
              <a:gd name="T33" fmla="*/ T32 w 2160"/>
              <a:gd name="T34" fmla="+- 0 366 -264"/>
              <a:gd name="T35" fmla="*/ 366 h 1373"/>
              <a:gd name="T36" fmla="+- 0 9064 9060"/>
              <a:gd name="T37" fmla="*/ T36 w 2160"/>
              <a:gd name="T38" fmla="+- 0 479 -264"/>
              <a:gd name="T39" fmla="*/ 479 h 1373"/>
              <a:gd name="T40" fmla="+- 0 9145 9060"/>
              <a:gd name="T41" fmla="*/ T40 w 2160"/>
              <a:gd name="T42" fmla="+- 0 690 -264"/>
              <a:gd name="T43" fmla="*/ 690 h 1373"/>
              <a:gd name="T44" fmla="+- 0 9222 9060"/>
              <a:gd name="T45" fmla="*/ T44 w 2160"/>
              <a:gd name="T46" fmla="+- 0 784 -264"/>
              <a:gd name="T47" fmla="*/ 784 h 1373"/>
              <a:gd name="T48" fmla="+- 0 9320 9060"/>
              <a:gd name="T49" fmla="*/ T48 w 2160"/>
              <a:gd name="T50" fmla="+- 0 869 -264"/>
              <a:gd name="T51" fmla="*/ 869 h 1373"/>
              <a:gd name="T52" fmla="+- 0 9437 9060"/>
              <a:gd name="T53" fmla="*/ T52 w 2160"/>
              <a:gd name="T54" fmla="+- 0 944 -264"/>
              <a:gd name="T55" fmla="*/ 944 h 1373"/>
              <a:gd name="T56" fmla="+- 0 9571 9060"/>
              <a:gd name="T57" fmla="*/ T56 w 2160"/>
              <a:gd name="T58" fmla="+- 0 1006 -264"/>
              <a:gd name="T59" fmla="*/ 1006 h 1373"/>
              <a:gd name="T60" fmla="+- 0 9720 9060"/>
              <a:gd name="T61" fmla="*/ T60 w 2160"/>
              <a:gd name="T62" fmla="+- 0 1055 -264"/>
              <a:gd name="T63" fmla="*/ 1055 h 1373"/>
              <a:gd name="T64" fmla="+- 0 9880 9060"/>
              <a:gd name="T65" fmla="*/ T64 w 2160"/>
              <a:gd name="T66" fmla="+- 0 1089 -264"/>
              <a:gd name="T67" fmla="*/ 1089 h 1373"/>
              <a:gd name="T68" fmla="+- 0 10051 9060"/>
              <a:gd name="T69" fmla="*/ T68 w 2160"/>
              <a:gd name="T70" fmla="+- 0 1107 -264"/>
              <a:gd name="T71" fmla="*/ 1107 h 1373"/>
              <a:gd name="T72" fmla="+- 0 10229 9060"/>
              <a:gd name="T73" fmla="*/ T72 w 2160"/>
              <a:gd name="T74" fmla="+- 0 1107 -264"/>
              <a:gd name="T75" fmla="*/ 1107 h 1373"/>
              <a:gd name="T76" fmla="+- 0 10400 9060"/>
              <a:gd name="T77" fmla="*/ T76 w 2160"/>
              <a:gd name="T78" fmla="+- 0 1089 -264"/>
              <a:gd name="T79" fmla="*/ 1089 h 1373"/>
              <a:gd name="T80" fmla="+- 0 10560 9060"/>
              <a:gd name="T81" fmla="*/ T80 w 2160"/>
              <a:gd name="T82" fmla="+- 0 1055 -264"/>
              <a:gd name="T83" fmla="*/ 1055 h 1373"/>
              <a:gd name="T84" fmla="+- 0 10709 9060"/>
              <a:gd name="T85" fmla="*/ T84 w 2160"/>
              <a:gd name="T86" fmla="+- 0 1006 -264"/>
              <a:gd name="T87" fmla="*/ 1006 h 1373"/>
              <a:gd name="T88" fmla="+- 0 10843 9060"/>
              <a:gd name="T89" fmla="*/ T88 w 2160"/>
              <a:gd name="T90" fmla="+- 0 944 -264"/>
              <a:gd name="T91" fmla="*/ 944 h 1373"/>
              <a:gd name="T92" fmla="+- 0 10960 9060"/>
              <a:gd name="T93" fmla="*/ T92 w 2160"/>
              <a:gd name="T94" fmla="+- 0 869 -264"/>
              <a:gd name="T95" fmla="*/ 869 h 1373"/>
              <a:gd name="T96" fmla="+- 0 11058 9060"/>
              <a:gd name="T97" fmla="*/ T96 w 2160"/>
              <a:gd name="T98" fmla="+- 0 784 -264"/>
              <a:gd name="T99" fmla="*/ 784 h 1373"/>
              <a:gd name="T100" fmla="+- 0 11135 9060"/>
              <a:gd name="T101" fmla="*/ T100 w 2160"/>
              <a:gd name="T102" fmla="+- 0 690 -264"/>
              <a:gd name="T103" fmla="*/ 690 h 1373"/>
              <a:gd name="T104" fmla="+- 0 11216 9060"/>
              <a:gd name="T105" fmla="*/ T104 w 2160"/>
              <a:gd name="T106" fmla="+- 0 479 -264"/>
              <a:gd name="T107" fmla="*/ 479 h 1373"/>
              <a:gd name="T108" fmla="+- 0 11216 9060"/>
              <a:gd name="T109" fmla="*/ T108 w 2160"/>
              <a:gd name="T110" fmla="+- 0 366 -264"/>
              <a:gd name="T111" fmla="*/ 366 h 1373"/>
              <a:gd name="T112" fmla="+- 0 11135 9060"/>
              <a:gd name="T113" fmla="*/ T112 w 2160"/>
              <a:gd name="T114" fmla="+- 0 155 -264"/>
              <a:gd name="T115" fmla="*/ 155 h 1373"/>
              <a:gd name="T116" fmla="+- 0 11058 9060"/>
              <a:gd name="T117" fmla="*/ T116 w 2160"/>
              <a:gd name="T118" fmla="+- 0 61 -264"/>
              <a:gd name="T119" fmla="*/ 61 h 1373"/>
              <a:gd name="T120" fmla="+- 0 10960 9060"/>
              <a:gd name="T121" fmla="*/ T120 w 2160"/>
              <a:gd name="T122" fmla="+- 0 -24 -264"/>
              <a:gd name="T123" fmla="*/ -24 h 1373"/>
              <a:gd name="T124" fmla="+- 0 10843 9060"/>
              <a:gd name="T125" fmla="*/ T124 w 2160"/>
              <a:gd name="T126" fmla="+- 0 -99 -264"/>
              <a:gd name="T127" fmla="*/ -99 h 1373"/>
              <a:gd name="T128" fmla="+- 0 10709 9060"/>
              <a:gd name="T129" fmla="*/ T128 w 2160"/>
              <a:gd name="T130" fmla="+- 0 -161 -264"/>
              <a:gd name="T131" fmla="*/ -161 h 1373"/>
              <a:gd name="T132" fmla="+- 0 10560 9060"/>
              <a:gd name="T133" fmla="*/ T132 w 2160"/>
              <a:gd name="T134" fmla="+- 0 -210 -264"/>
              <a:gd name="T135" fmla="*/ -210 h 1373"/>
              <a:gd name="T136" fmla="+- 0 10400 9060"/>
              <a:gd name="T137" fmla="*/ T136 w 2160"/>
              <a:gd name="T138" fmla="+- 0 -244 -264"/>
              <a:gd name="T139" fmla="*/ -244 h 1373"/>
              <a:gd name="T140" fmla="+- 0 10229 9060"/>
              <a:gd name="T141" fmla="*/ T140 w 2160"/>
              <a:gd name="T142" fmla="+- 0 -262 -264"/>
              <a:gd name="T143" fmla="*/ -262 h 1373"/>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Lst>
            <a:rect l="0" t="0" r="r" b="b"/>
            <a:pathLst>
              <a:path w="2160" h="1373">
                <a:moveTo>
                  <a:pt x="1080" y="0"/>
                </a:moveTo>
                <a:lnTo>
                  <a:pt x="991" y="2"/>
                </a:lnTo>
                <a:lnTo>
                  <a:pt x="905" y="9"/>
                </a:lnTo>
                <a:lnTo>
                  <a:pt x="820" y="20"/>
                </a:lnTo>
                <a:lnTo>
                  <a:pt x="739" y="35"/>
                </a:lnTo>
                <a:lnTo>
                  <a:pt x="660" y="54"/>
                </a:lnTo>
                <a:lnTo>
                  <a:pt x="584" y="77"/>
                </a:lnTo>
                <a:lnTo>
                  <a:pt x="511" y="103"/>
                </a:lnTo>
                <a:lnTo>
                  <a:pt x="442" y="132"/>
                </a:lnTo>
                <a:lnTo>
                  <a:pt x="377" y="165"/>
                </a:lnTo>
                <a:lnTo>
                  <a:pt x="316" y="201"/>
                </a:lnTo>
                <a:lnTo>
                  <a:pt x="260" y="240"/>
                </a:lnTo>
                <a:lnTo>
                  <a:pt x="208" y="281"/>
                </a:lnTo>
                <a:lnTo>
                  <a:pt x="162" y="325"/>
                </a:lnTo>
                <a:lnTo>
                  <a:pt x="121" y="371"/>
                </a:lnTo>
                <a:lnTo>
                  <a:pt x="85" y="419"/>
                </a:lnTo>
                <a:lnTo>
                  <a:pt x="31" y="521"/>
                </a:lnTo>
                <a:lnTo>
                  <a:pt x="4" y="630"/>
                </a:lnTo>
                <a:lnTo>
                  <a:pt x="0" y="686"/>
                </a:lnTo>
                <a:lnTo>
                  <a:pt x="4" y="743"/>
                </a:lnTo>
                <a:lnTo>
                  <a:pt x="31" y="851"/>
                </a:lnTo>
                <a:lnTo>
                  <a:pt x="85" y="954"/>
                </a:lnTo>
                <a:lnTo>
                  <a:pt x="121" y="1002"/>
                </a:lnTo>
                <a:lnTo>
                  <a:pt x="162" y="1048"/>
                </a:lnTo>
                <a:lnTo>
                  <a:pt x="208" y="1092"/>
                </a:lnTo>
                <a:lnTo>
                  <a:pt x="260" y="1133"/>
                </a:lnTo>
                <a:lnTo>
                  <a:pt x="316" y="1172"/>
                </a:lnTo>
                <a:lnTo>
                  <a:pt x="377" y="1208"/>
                </a:lnTo>
                <a:lnTo>
                  <a:pt x="442" y="1240"/>
                </a:lnTo>
                <a:lnTo>
                  <a:pt x="511" y="1270"/>
                </a:lnTo>
                <a:lnTo>
                  <a:pt x="584" y="1296"/>
                </a:lnTo>
                <a:lnTo>
                  <a:pt x="660" y="1319"/>
                </a:lnTo>
                <a:lnTo>
                  <a:pt x="739" y="1338"/>
                </a:lnTo>
                <a:lnTo>
                  <a:pt x="820" y="1353"/>
                </a:lnTo>
                <a:lnTo>
                  <a:pt x="905" y="1364"/>
                </a:lnTo>
                <a:lnTo>
                  <a:pt x="991" y="1371"/>
                </a:lnTo>
                <a:lnTo>
                  <a:pt x="1080" y="1373"/>
                </a:lnTo>
                <a:lnTo>
                  <a:pt x="1169" y="1371"/>
                </a:lnTo>
                <a:lnTo>
                  <a:pt x="1255" y="1364"/>
                </a:lnTo>
                <a:lnTo>
                  <a:pt x="1340" y="1353"/>
                </a:lnTo>
                <a:lnTo>
                  <a:pt x="1421" y="1338"/>
                </a:lnTo>
                <a:lnTo>
                  <a:pt x="1500" y="1319"/>
                </a:lnTo>
                <a:lnTo>
                  <a:pt x="1576" y="1296"/>
                </a:lnTo>
                <a:lnTo>
                  <a:pt x="1649" y="1270"/>
                </a:lnTo>
                <a:lnTo>
                  <a:pt x="1718" y="1240"/>
                </a:lnTo>
                <a:lnTo>
                  <a:pt x="1783" y="1208"/>
                </a:lnTo>
                <a:lnTo>
                  <a:pt x="1844" y="1172"/>
                </a:lnTo>
                <a:lnTo>
                  <a:pt x="1900" y="1133"/>
                </a:lnTo>
                <a:lnTo>
                  <a:pt x="1952" y="1092"/>
                </a:lnTo>
                <a:lnTo>
                  <a:pt x="1998" y="1048"/>
                </a:lnTo>
                <a:lnTo>
                  <a:pt x="2039" y="1002"/>
                </a:lnTo>
                <a:lnTo>
                  <a:pt x="2075" y="954"/>
                </a:lnTo>
                <a:lnTo>
                  <a:pt x="2129" y="851"/>
                </a:lnTo>
                <a:lnTo>
                  <a:pt x="2156" y="743"/>
                </a:lnTo>
                <a:lnTo>
                  <a:pt x="2160" y="686"/>
                </a:lnTo>
                <a:lnTo>
                  <a:pt x="2156" y="630"/>
                </a:lnTo>
                <a:lnTo>
                  <a:pt x="2129" y="521"/>
                </a:lnTo>
                <a:lnTo>
                  <a:pt x="2075" y="419"/>
                </a:lnTo>
                <a:lnTo>
                  <a:pt x="2039" y="371"/>
                </a:lnTo>
                <a:lnTo>
                  <a:pt x="1998" y="325"/>
                </a:lnTo>
                <a:lnTo>
                  <a:pt x="1952" y="281"/>
                </a:lnTo>
                <a:lnTo>
                  <a:pt x="1900" y="240"/>
                </a:lnTo>
                <a:lnTo>
                  <a:pt x="1844" y="201"/>
                </a:lnTo>
                <a:lnTo>
                  <a:pt x="1783" y="165"/>
                </a:lnTo>
                <a:lnTo>
                  <a:pt x="1718" y="132"/>
                </a:lnTo>
                <a:lnTo>
                  <a:pt x="1649" y="103"/>
                </a:lnTo>
                <a:lnTo>
                  <a:pt x="1576" y="77"/>
                </a:lnTo>
                <a:lnTo>
                  <a:pt x="1500" y="54"/>
                </a:lnTo>
                <a:lnTo>
                  <a:pt x="1421" y="35"/>
                </a:lnTo>
                <a:lnTo>
                  <a:pt x="1340" y="20"/>
                </a:lnTo>
                <a:lnTo>
                  <a:pt x="1255" y="9"/>
                </a:lnTo>
                <a:lnTo>
                  <a:pt x="1169" y="2"/>
                </a:lnTo>
                <a:lnTo>
                  <a:pt x="1080" y="0"/>
                </a:lnTo>
              </a:path>
            </a:pathLst>
          </a:cu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1600">
                <a:solidFill>
                  <a:schemeClr val="bg1"/>
                </a:solidFill>
              </a:rPr>
              <a:t>Value</a:t>
            </a:r>
            <a:endParaRPr lang="en-IN" sz="1600">
              <a:solidFill>
                <a:schemeClr val="bg1"/>
              </a:solidFill>
            </a:endParaRPr>
          </a:p>
        </p:txBody>
      </p:sp>
      <p:sp>
        <p:nvSpPr>
          <p:cNvPr id="46" name="Freeform 45"/>
          <p:cNvSpPr>
            <a:spLocks/>
          </p:cNvSpPr>
          <p:nvPr/>
        </p:nvSpPr>
        <p:spPr bwMode="gray">
          <a:xfrm>
            <a:off x="1716791" y="2321327"/>
            <a:ext cx="868266" cy="551711"/>
          </a:xfrm>
          <a:custGeom>
            <a:avLst/>
            <a:gdLst>
              <a:gd name="T0" fmla="+- 0 7277 6286"/>
              <a:gd name="T1" fmla="*/ T0 w 2160"/>
              <a:gd name="T2" fmla="+- 0 -58 -60"/>
              <a:gd name="T3" fmla="*/ -58 h 1373"/>
              <a:gd name="T4" fmla="+- 0 7106 6286"/>
              <a:gd name="T5" fmla="*/ T4 w 2160"/>
              <a:gd name="T6" fmla="+- 0 -40 -60"/>
              <a:gd name="T7" fmla="*/ -40 h 1373"/>
              <a:gd name="T8" fmla="+- 0 6945 6286"/>
              <a:gd name="T9" fmla="*/ T8 w 2160"/>
              <a:gd name="T10" fmla="+- 0 -6 -60"/>
              <a:gd name="T11" fmla="*/ -6 h 1373"/>
              <a:gd name="T12" fmla="+- 0 6797 6286"/>
              <a:gd name="T13" fmla="*/ T12 w 2160"/>
              <a:gd name="T14" fmla="+- 0 43 -60"/>
              <a:gd name="T15" fmla="*/ 43 h 1373"/>
              <a:gd name="T16" fmla="+- 0 6663 6286"/>
              <a:gd name="T17" fmla="*/ T16 w 2160"/>
              <a:gd name="T18" fmla="+- 0 105 -60"/>
              <a:gd name="T19" fmla="*/ 105 h 1373"/>
              <a:gd name="T20" fmla="+- 0 6546 6286"/>
              <a:gd name="T21" fmla="*/ T20 w 2160"/>
              <a:gd name="T22" fmla="+- 0 180 -60"/>
              <a:gd name="T23" fmla="*/ 180 h 1373"/>
              <a:gd name="T24" fmla="+- 0 6447 6286"/>
              <a:gd name="T25" fmla="*/ T24 w 2160"/>
              <a:gd name="T26" fmla="+- 0 265 -60"/>
              <a:gd name="T27" fmla="*/ 265 h 1373"/>
              <a:gd name="T28" fmla="+- 0 6370 6286"/>
              <a:gd name="T29" fmla="*/ T28 w 2160"/>
              <a:gd name="T30" fmla="+- 0 359 -60"/>
              <a:gd name="T31" fmla="*/ 359 h 1373"/>
              <a:gd name="T32" fmla="+- 0 6289 6286"/>
              <a:gd name="T33" fmla="*/ T32 w 2160"/>
              <a:gd name="T34" fmla="+- 0 570 -60"/>
              <a:gd name="T35" fmla="*/ 570 h 1373"/>
              <a:gd name="T36" fmla="+- 0 6289 6286"/>
              <a:gd name="T37" fmla="*/ T36 w 2160"/>
              <a:gd name="T38" fmla="+- 0 683 -60"/>
              <a:gd name="T39" fmla="*/ 683 h 1373"/>
              <a:gd name="T40" fmla="+- 0 6370 6286"/>
              <a:gd name="T41" fmla="*/ T40 w 2160"/>
              <a:gd name="T42" fmla="+- 0 894 -60"/>
              <a:gd name="T43" fmla="*/ 894 h 1373"/>
              <a:gd name="T44" fmla="+- 0 6447 6286"/>
              <a:gd name="T45" fmla="*/ T44 w 2160"/>
              <a:gd name="T46" fmla="+- 0 988 -60"/>
              <a:gd name="T47" fmla="*/ 988 h 1373"/>
              <a:gd name="T48" fmla="+- 0 6546 6286"/>
              <a:gd name="T49" fmla="*/ T48 w 2160"/>
              <a:gd name="T50" fmla="+- 0 1073 -60"/>
              <a:gd name="T51" fmla="*/ 1073 h 1373"/>
              <a:gd name="T52" fmla="+- 0 6663 6286"/>
              <a:gd name="T53" fmla="*/ T52 w 2160"/>
              <a:gd name="T54" fmla="+- 0 1148 -60"/>
              <a:gd name="T55" fmla="*/ 1148 h 1373"/>
              <a:gd name="T56" fmla="+- 0 6797 6286"/>
              <a:gd name="T57" fmla="*/ T56 w 2160"/>
              <a:gd name="T58" fmla="+- 0 1210 -60"/>
              <a:gd name="T59" fmla="*/ 1210 h 1373"/>
              <a:gd name="T60" fmla="+- 0 6945 6286"/>
              <a:gd name="T61" fmla="*/ T60 w 2160"/>
              <a:gd name="T62" fmla="+- 0 1259 -60"/>
              <a:gd name="T63" fmla="*/ 1259 h 1373"/>
              <a:gd name="T64" fmla="+- 0 7106 6286"/>
              <a:gd name="T65" fmla="*/ T64 w 2160"/>
              <a:gd name="T66" fmla="+- 0 1293 -60"/>
              <a:gd name="T67" fmla="*/ 1293 h 1373"/>
              <a:gd name="T68" fmla="+- 0 7277 6286"/>
              <a:gd name="T69" fmla="*/ T68 w 2160"/>
              <a:gd name="T70" fmla="+- 0 1311 -60"/>
              <a:gd name="T71" fmla="*/ 1311 h 1373"/>
              <a:gd name="T72" fmla="+- 0 7454 6286"/>
              <a:gd name="T73" fmla="*/ T72 w 2160"/>
              <a:gd name="T74" fmla="+- 0 1311 -60"/>
              <a:gd name="T75" fmla="*/ 1311 h 1373"/>
              <a:gd name="T76" fmla="+- 0 7625 6286"/>
              <a:gd name="T77" fmla="*/ T76 w 2160"/>
              <a:gd name="T78" fmla="+- 0 1293 -60"/>
              <a:gd name="T79" fmla="*/ 1293 h 1373"/>
              <a:gd name="T80" fmla="+- 0 7786 6286"/>
              <a:gd name="T81" fmla="*/ T80 w 2160"/>
              <a:gd name="T82" fmla="+- 0 1259 -60"/>
              <a:gd name="T83" fmla="*/ 1259 h 1373"/>
              <a:gd name="T84" fmla="+- 0 7934 6286"/>
              <a:gd name="T85" fmla="*/ T84 w 2160"/>
              <a:gd name="T86" fmla="+- 0 1210 -60"/>
              <a:gd name="T87" fmla="*/ 1210 h 1373"/>
              <a:gd name="T88" fmla="+- 0 8068 6286"/>
              <a:gd name="T89" fmla="*/ T88 w 2160"/>
              <a:gd name="T90" fmla="+- 0 1148 -60"/>
              <a:gd name="T91" fmla="*/ 1148 h 1373"/>
              <a:gd name="T92" fmla="+- 0 8186 6286"/>
              <a:gd name="T93" fmla="*/ T92 w 2160"/>
              <a:gd name="T94" fmla="+- 0 1073 -60"/>
              <a:gd name="T95" fmla="*/ 1073 h 1373"/>
              <a:gd name="T96" fmla="+- 0 8284 6286"/>
              <a:gd name="T97" fmla="*/ T96 w 2160"/>
              <a:gd name="T98" fmla="+- 0 988 -60"/>
              <a:gd name="T99" fmla="*/ 988 h 1373"/>
              <a:gd name="T100" fmla="+- 0 8361 6286"/>
              <a:gd name="T101" fmla="*/ T100 w 2160"/>
              <a:gd name="T102" fmla="+- 0 894 -60"/>
              <a:gd name="T103" fmla="*/ 894 h 1373"/>
              <a:gd name="T104" fmla="+- 0 8442 6286"/>
              <a:gd name="T105" fmla="*/ T104 w 2160"/>
              <a:gd name="T106" fmla="+- 0 683 -60"/>
              <a:gd name="T107" fmla="*/ 683 h 1373"/>
              <a:gd name="T108" fmla="+- 0 8442 6286"/>
              <a:gd name="T109" fmla="*/ T108 w 2160"/>
              <a:gd name="T110" fmla="+- 0 570 -60"/>
              <a:gd name="T111" fmla="*/ 570 h 1373"/>
              <a:gd name="T112" fmla="+- 0 8361 6286"/>
              <a:gd name="T113" fmla="*/ T112 w 2160"/>
              <a:gd name="T114" fmla="+- 0 359 -60"/>
              <a:gd name="T115" fmla="*/ 359 h 1373"/>
              <a:gd name="T116" fmla="+- 0 8284 6286"/>
              <a:gd name="T117" fmla="*/ T116 w 2160"/>
              <a:gd name="T118" fmla="+- 0 265 -60"/>
              <a:gd name="T119" fmla="*/ 265 h 1373"/>
              <a:gd name="T120" fmla="+- 0 8186 6286"/>
              <a:gd name="T121" fmla="*/ T120 w 2160"/>
              <a:gd name="T122" fmla="+- 0 180 -60"/>
              <a:gd name="T123" fmla="*/ 180 h 1373"/>
              <a:gd name="T124" fmla="+- 0 8068 6286"/>
              <a:gd name="T125" fmla="*/ T124 w 2160"/>
              <a:gd name="T126" fmla="+- 0 105 -60"/>
              <a:gd name="T127" fmla="*/ 105 h 1373"/>
              <a:gd name="T128" fmla="+- 0 7934 6286"/>
              <a:gd name="T129" fmla="*/ T128 w 2160"/>
              <a:gd name="T130" fmla="+- 0 43 -60"/>
              <a:gd name="T131" fmla="*/ 43 h 1373"/>
              <a:gd name="T132" fmla="+- 0 7786 6286"/>
              <a:gd name="T133" fmla="*/ T132 w 2160"/>
              <a:gd name="T134" fmla="+- 0 -6 -60"/>
              <a:gd name="T135" fmla="*/ -6 h 1373"/>
              <a:gd name="T136" fmla="+- 0 7625 6286"/>
              <a:gd name="T137" fmla="*/ T136 w 2160"/>
              <a:gd name="T138" fmla="+- 0 -40 -60"/>
              <a:gd name="T139" fmla="*/ -40 h 1373"/>
              <a:gd name="T140" fmla="+- 0 7454 6286"/>
              <a:gd name="T141" fmla="*/ T140 w 2160"/>
              <a:gd name="T142" fmla="+- 0 -58 -60"/>
              <a:gd name="T143" fmla="*/ -58 h 1373"/>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Lst>
            <a:rect l="0" t="0" r="r" b="b"/>
            <a:pathLst>
              <a:path w="2160" h="1373">
                <a:moveTo>
                  <a:pt x="1080" y="0"/>
                </a:moveTo>
                <a:lnTo>
                  <a:pt x="991" y="2"/>
                </a:lnTo>
                <a:lnTo>
                  <a:pt x="904" y="9"/>
                </a:lnTo>
                <a:lnTo>
                  <a:pt x="820" y="20"/>
                </a:lnTo>
                <a:lnTo>
                  <a:pt x="738" y="35"/>
                </a:lnTo>
                <a:lnTo>
                  <a:pt x="659" y="54"/>
                </a:lnTo>
                <a:lnTo>
                  <a:pt x="583" y="77"/>
                </a:lnTo>
                <a:lnTo>
                  <a:pt x="511" y="103"/>
                </a:lnTo>
                <a:lnTo>
                  <a:pt x="442" y="132"/>
                </a:lnTo>
                <a:lnTo>
                  <a:pt x="377" y="165"/>
                </a:lnTo>
                <a:lnTo>
                  <a:pt x="316" y="201"/>
                </a:lnTo>
                <a:lnTo>
                  <a:pt x="260" y="240"/>
                </a:lnTo>
                <a:lnTo>
                  <a:pt x="208" y="281"/>
                </a:lnTo>
                <a:lnTo>
                  <a:pt x="161" y="325"/>
                </a:lnTo>
                <a:lnTo>
                  <a:pt x="120" y="371"/>
                </a:lnTo>
                <a:lnTo>
                  <a:pt x="84" y="419"/>
                </a:lnTo>
                <a:lnTo>
                  <a:pt x="31" y="521"/>
                </a:lnTo>
                <a:lnTo>
                  <a:pt x="3" y="630"/>
                </a:lnTo>
                <a:lnTo>
                  <a:pt x="0" y="686"/>
                </a:lnTo>
                <a:lnTo>
                  <a:pt x="3" y="743"/>
                </a:lnTo>
                <a:lnTo>
                  <a:pt x="31" y="851"/>
                </a:lnTo>
                <a:lnTo>
                  <a:pt x="84" y="954"/>
                </a:lnTo>
                <a:lnTo>
                  <a:pt x="120" y="1002"/>
                </a:lnTo>
                <a:lnTo>
                  <a:pt x="161" y="1048"/>
                </a:lnTo>
                <a:lnTo>
                  <a:pt x="208" y="1092"/>
                </a:lnTo>
                <a:lnTo>
                  <a:pt x="260" y="1133"/>
                </a:lnTo>
                <a:lnTo>
                  <a:pt x="316" y="1172"/>
                </a:lnTo>
                <a:lnTo>
                  <a:pt x="377" y="1208"/>
                </a:lnTo>
                <a:lnTo>
                  <a:pt x="442" y="1240"/>
                </a:lnTo>
                <a:lnTo>
                  <a:pt x="511" y="1270"/>
                </a:lnTo>
                <a:lnTo>
                  <a:pt x="583" y="1296"/>
                </a:lnTo>
                <a:lnTo>
                  <a:pt x="659" y="1319"/>
                </a:lnTo>
                <a:lnTo>
                  <a:pt x="738" y="1338"/>
                </a:lnTo>
                <a:lnTo>
                  <a:pt x="820" y="1353"/>
                </a:lnTo>
                <a:lnTo>
                  <a:pt x="904" y="1364"/>
                </a:lnTo>
                <a:lnTo>
                  <a:pt x="991" y="1371"/>
                </a:lnTo>
                <a:lnTo>
                  <a:pt x="1080" y="1373"/>
                </a:lnTo>
                <a:lnTo>
                  <a:pt x="1168" y="1371"/>
                </a:lnTo>
                <a:lnTo>
                  <a:pt x="1255" y="1364"/>
                </a:lnTo>
                <a:lnTo>
                  <a:pt x="1339" y="1353"/>
                </a:lnTo>
                <a:lnTo>
                  <a:pt x="1421" y="1338"/>
                </a:lnTo>
                <a:lnTo>
                  <a:pt x="1500" y="1319"/>
                </a:lnTo>
                <a:lnTo>
                  <a:pt x="1576" y="1296"/>
                </a:lnTo>
                <a:lnTo>
                  <a:pt x="1648" y="1270"/>
                </a:lnTo>
                <a:lnTo>
                  <a:pt x="1717" y="1240"/>
                </a:lnTo>
                <a:lnTo>
                  <a:pt x="1782" y="1208"/>
                </a:lnTo>
                <a:lnTo>
                  <a:pt x="1843" y="1172"/>
                </a:lnTo>
                <a:lnTo>
                  <a:pt x="1900" y="1133"/>
                </a:lnTo>
                <a:lnTo>
                  <a:pt x="1951" y="1092"/>
                </a:lnTo>
                <a:lnTo>
                  <a:pt x="1998" y="1048"/>
                </a:lnTo>
                <a:lnTo>
                  <a:pt x="2039" y="1002"/>
                </a:lnTo>
                <a:lnTo>
                  <a:pt x="2075" y="954"/>
                </a:lnTo>
                <a:lnTo>
                  <a:pt x="2128" y="851"/>
                </a:lnTo>
                <a:lnTo>
                  <a:pt x="2156" y="743"/>
                </a:lnTo>
                <a:lnTo>
                  <a:pt x="2160" y="686"/>
                </a:lnTo>
                <a:lnTo>
                  <a:pt x="2156" y="630"/>
                </a:lnTo>
                <a:lnTo>
                  <a:pt x="2128" y="521"/>
                </a:lnTo>
                <a:lnTo>
                  <a:pt x="2075" y="419"/>
                </a:lnTo>
                <a:lnTo>
                  <a:pt x="2039" y="371"/>
                </a:lnTo>
                <a:lnTo>
                  <a:pt x="1998" y="325"/>
                </a:lnTo>
                <a:lnTo>
                  <a:pt x="1951" y="281"/>
                </a:lnTo>
                <a:lnTo>
                  <a:pt x="1900" y="240"/>
                </a:lnTo>
                <a:lnTo>
                  <a:pt x="1843" y="201"/>
                </a:lnTo>
                <a:lnTo>
                  <a:pt x="1782" y="165"/>
                </a:lnTo>
                <a:lnTo>
                  <a:pt x="1717" y="132"/>
                </a:lnTo>
                <a:lnTo>
                  <a:pt x="1648" y="103"/>
                </a:lnTo>
                <a:lnTo>
                  <a:pt x="1576" y="77"/>
                </a:lnTo>
                <a:lnTo>
                  <a:pt x="1500" y="54"/>
                </a:lnTo>
                <a:lnTo>
                  <a:pt x="1421" y="35"/>
                </a:lnTo>
                <a:lnTo>
                  <a:pt x="1339" y="20"/>
                </a:lnTo>
                <a:lnTo>
                  <a:pt x="1255" y="9"/>
                </a:lnTo>
                <a:lnTo>
                  <a:pt x="1168" y="2"/>
                </a:lnTo>
                <a:lnTo>
                  <a:pt x="1080" y="0"/>
                </a:lnTo>
              </a:path>
            </a:pathLst>
          </a:custGeom>
          <a:solidFill>
            <a:srgbClr val="779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1600">
                <a:solidFill>
                  <a:schemeClr val="bg1"/>
                </a:solidFill>
              </a:rPr>
              <a:t>Key</a:t>
            </a:r>
            <a:endParaRPr lang="en-IN" sz="1600">
              <a:solidFill>
                <a:schemeClr val="bg1"/>
              </a:solidFill>
            </a:endParaRPr>
          </a:p>
        </p:txBody>
      </p:sp>
      <p:sp>
        <p:nvSpPr>
          <p:cNvPr id="48" name="Freeform 47"/>
          <p:cNvSpPr>
            <a:spLocks/>
          </p:cNvSpPr>
          <p:nvPr/>
        </p:nvSpPr>
        <p:spPr bwMode="gray">
          <a:xfrm>
            <a:off x="4477355" y="2656977"/>
            <a:ext cx="1225019" cy="492419"/>
          </a:xfrm>
          <a:custGeom>
            <a:avLst/>
            <a:gdLst>
              <a:gd name="T0" fmla="+- 0 15587 13152"/>
              <a:gd name="T1" fmla="*/ T0 w 3048"/>
              <a:gd name="T2" fmla="+- 0 775 775"/>
              <a:gd name="T3" fmla="*/ 775 h 1226"/>
              <a:gd name="T4" fmla="+- 0 13152 13152"/>
              <a:gd name="T5" fmla="*/ T4 w 3048"/>
              <a:gd name="T6" fmla="+- 0 775 775"/>
              <a:gd name="T7" fmla="*/ 775 h 1226"/>
              <a:gd name="T8" fmla="+- 0 13152 13152"/>
              <a:gd name="T9" fmla="*/ T8 w 3048"/>
              <a:gd name="T10" fmla="+- 0 2002 775"/>
              <a:gd name="T11" fmla="*/ 2002 h 1226"/>
              <a:gd name="T12" fmla="+- 0 15587 13152"/>
              <a:gd name="T13" fmla="*/ T12 w 3048"/>
              <a:gd name="T14" fmla="+- 0 2002 775"/>
              <a:gd name="T15" fmla="*/ 2002 h 1226"/>
              <a:gd name="T16" fmla="+- 0 16200 13152"/>
              <a:gd name="T17" fmla="*/ T16 w 3048"/>
              <a:gd name="T18" fmla="+- 0 1388 775"/>
              <a:gd name="T19" fmla="*/ 1388 h 1226"/>
              <a:gd name="T20" fmla="+- 0 15587 13152"/>
              <a:gd name="T21" fmla="*/ T20 w 3048"/>
              <a:gd name="T22" fmla="+- 0 775 775"/>
              <a:gd name="T23" fmla="*/ 775 h 1226"/>
            </a:gdLst>
            <a:ahLst/>
            <a:cxnLst>
              <a:cxn ang="0">
                <a:pos x="T1" y="T3"/>
              </a:cxn>
              <a:cxn ang="0">
                <a:pos x="T5" y="T7"/>
              </a:cxn>
              <a:cxn ang="0">
                <a:pos x="T9" y="T11"/>
              </a:cxn>
              <a:cxn ang="0">
                <a:pos x="T13" y="T15"/>
              </a:cxn>
              <a:cxn ang="0">
                <a:pos x="T17" y="T19"/>
              </a:cxn>
              <a:cxn ang="0">
                <a:pos x="T21" y="T23"/>
              </a:cxn>
            </a:cxnLst>
            <a:rect l="0" t="0" r="r" b="b"/>
            <a:pathLst>
              <a:path w="3048" h="1226">
                <a:moveTo>
                  <a:pt x="2435" y="0"/>
                </a:moveTo>
                <a:lnTo>
                  <a:pt x="0" y="0"/>
                </a:lnTo>
                <a:lnTo>
                  <a:pt x="0" y="1227"/>
                </a:lnTo>
                <a:lnTo>
                  <a:pt x="2435" y="1227"/>
                </a:lnTo>
                <a:lnTo>
                  <a:pt x="3048" y="613"/>
                </a:lnTo>
                <a:lnTo>
                  <a:pt x="2435" y="0"/>
                </a:ln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1400">
                <a:solidFill>
                  <a:schemeClr val="bg1"/>
                </a:solidFill>
              </a:rPr>
              <a:t>(K1, V1)</a:t>
            </a:r>
            <a:endParaRPr lang="en-IN" sz="1400">
              <a:solidFill>
                <a:schemeClr val="bg1"/>
              </a:solidFill>
            </a:endParaRPr>
          </a:p>
        </p:txBody>
      </p:sp>
      <p:sp>
        <p:nvSpPr>
          <p:cNvPr id="50" name="Freeform 49"/>
          <p:cNvSpPr>
            <a:spLocks/>
          </p:cNvSpPr>
          <p:nvPr/>
        </p:nvSpPr>
        <p:spPr bwMode="gray">
          <a:xfrm>
            <a:off x="4477355" y="3790546"/>
            <a:ext cx="1225019" cy="492419"/>
          </a:xfrm>
          <a:custGeom>
            <a:avLst/>
            <a:gdLst>
              <a:gd name="T0" fmla="+- 0 15587 13152"/>
              <a:gd name="T1" fmla="*/ T0 w 3048"/>
              <a:gd name="T2" fmla="+- 0 -365 -365"/>
              <a:gd name="T3" fmla="*/ -365 h 1226"/>
              <a:gd name="T4" fmla="+- 0 13152 13152"/>
              <a:gd name="T5" fmla="*/ T4 w 3048"/>
              <a:gd name="T6" fmla="+- 0 -365 -365"/>
              <a:gd name="T7" fmla="*/ -365 h 1226"/>
              <a:gd name="T8" fmla="+- 0 13152 13152"/>
              <a:gd name="T9" fmla="*/ T8 w 3048"/>
              <a:gd name="T10" fmla="+- 0 861 -365"/>
              <a:gd name="T11" fmla="*/ 861 h 1226"/>
              <a:gd name="T12" fmla="+- 0 15587 13152"/>
              <a:gd name="T13" fmla="*/ T12 w 3048"/>
              <a:gd name="T14" fmla="+- 0 861 -365"/>
              <a:gd name="T15" fmla="*/ 861 h 1226"/>
              <a:gd name="T16" fmla="+- 0 16200 13152"/>
              <a:gd name="T17" fmla="*/ T16 w 3048"/>
              <a:gd name="T18" fmla="+- 0 248 -365"/>
              <a:gd name="T19" fmla="*/ 248 h 1226"/>
              <a:gd name="T20" fmla="+- 0 15587 13152"/>
              <a:gd name="T21" fmla="*/ T20 w 3048"/>
              <a:gd name="T22" fmla="+- 0 -365 -365"/>
              <a:gd name="T23" fmla="*/ -365 h 1226"/>
            </a:gdLst>
            <a:ahLst/>
            <a:cxnLst>
              <a:cxn ang="0">
                <a:pos x="T1" y="T3"/>
              </a:cxn>
              <a:cxn ang="0">
                <a:pos x="T5" y="T7"/>
              </a:cxn>
              <a:cxn ang="0">
                <a:pos x="T9" y="T11"/>
              </a:cxn>
              <a:cxn ang="0">
                <a:pos x="T13" y="T15"/>
              </a:cxn>
              <a:cxn ang="0">
                <a:pos x="T17" y="T19"/>
              </a:cxn>
              <a:cxn ang="0">
                <a:pos x="T21" y="T23"/>
              </a:cxn>
            </a:cxnLst>
            <a:rect l="0" t="0" r="r" b="b"/>
            <a:pathLst>
              <a:path w="3048" h="1226">
                <a:moveTo>
                  <a:pt x="2435" y="0"/>
                </a:moveTo>
                <a:lnTo>
                  <a:pt x="0" y="0"/>
                </a:lnTo>
                <a:lnTo>
                  <a:pt x="0" y="1226"/>
                </a:lnTo>
                <a:lnTo>
                  <a:pt x="2435" y="1226"/>
                </a:lnTo>
                <a:lnTo>
                  <a:pt x="3048" y="613"/>
                </a:lnTo>
                <a:lnTo>
                  <a:pt x="2435" y="0"/>
                </a:ln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1400">
                <a:solidFill>
                  <a:schemeClr val="bg1"/>
                </a:solidFill>
              </a:rPr>
              <a:t>(K2, </a:t>
            </a:r>
            <a:r>
              <a:rPr lang="en-US" sz="1400" smtClean="0">
                <a:solidFill>
                  <a:schemeClr val="bg1"/>
                </a:solidFill>
              </a:rPr>
              <a:t>list </a:t>
            </a:r>
            <a:r>
              <a:rPr lang="en-US" sz="1400">
                <a:solidFill>
                  <a:schemeClr val="bg1"/>
                </a:solidFill>
              </a:rPr>
              <a:t>(V2</a:t>
            </a:r>
            <a:r>
              <a:rPr lang="en-US" sz="1400" smtClean="0">
                <a:solidFill>
                  <a:schemeClr val="bg1"/>
                </a:solidFill>
              </a:rPr>
              <a:t>))</a:t>
            </a:r>
            <a:endParaRPr lang="en-IN" sz="1400">
              <a:solidFill>
                <a:schemeClr val="bg1"/>
              </a:solidFill>
            </a:endParaRPr>
          </a:p>
        </p:txBody>
      </p:sp>
      <p:sp>
        <p:nvSpPr>
          <p:cNvPr id="52" name="Freeform 51"/>
          <p:cNvSpPr>
            <a:spLocks/>
          </p:cNvSpPr>
          <p:nvPr/>
        </p:nvSpPr>
        <p:spPr bwMode="gray">
          <a:xfrm>
            <a:off x="5975717" y="2656977"/>
            <a:ext cx="1222004" cy="492419"/>
          </a:xfrm>
          <a:custGeom>
            <a:avLst/>
            <a:gdLst>
              <a:gd name="T0" fmla="+- 0 19307 16879"/>
              <a:gd name="T1" fmla="*/ T0 w 3041"/>
              <a:gd name="T2" fmla="+- 0 -2851 -2851"/>
              <a:gd name="T3" fmla="*/ -2851 h 1226"/>
              <a:gd name="T4" fmla="+- 0 16879 16879"/>
              <a:gd name="T5" fmla="*/ T4 w 3041"/>
              <a:gd name="T6" fmla="+- 0 -2851 -2851"/>
              <a:gd name="T7" fmla="*/ -2851 h 1226"/>
              <a:gd name="T8" fmla="+- 0 16879 16879"/>
              <a:gd name="T9" fmla="*/ T8 w 3041"/>
              <a:gd name="T10" fmla="+- 0 -1625 -2851"/>
              <a:gd name="T11" fmla="*/ -1625 h 1226"/>
              <a:gd name="T12" fmla="+- 0 19307 16879"/>
              <a:gd name="T13" fmla="*/ T12 w 3041"/>
              <a:gd name="T14" fmla="+- 0 -1625 -2851"/>
              <a:gd name="T15" fmla="*/ -1625 h 1226"/>
              <a:gd name="T16" fmla="+- 0 19920 16879"/>
              <a:gd name="T17" fmla="*/ T16 w 3041"/>
              <a:gd name="T18" fmla="+- 0 -2238 -2851"/>
              <a:gd name="T19" fmla="*/ -2238 h 1226"/>
              <a:gd name="T20" fmla="+- 0 19307 16879"/>
              <a:gd name="T21" fmla="*/ T20 w 3041"/>
              <a:gd name="T22" fmla="+- 0 -2851 -2851"/>
              <a:gd name="T23" fmla="*/ -2851 h 1226"/>
            </a:gdLst>
            <a:ahLst/>
            <a:cxnLst>
              <a:cxn ang="0">
                <a:pos x="T1" y="T3"/>
              </a:cxn>
              <a:cxn ang="0">
                <a:pos x="T5" y="T7"/>
              </a:cxn>
              <a:cxn ang="0">
                <a:pos x="T9" y="T11"/>
              </a:cxn>
              <a:cxn ang="0">
                <a:pos x="T13" y="T15"/>
              </a:cxn>
              <a:cxn ang="0">
                <a:pos x="T17" y="T19"/>
              </a:cxn>
              <a:cxn ang="0">
                <a:pos x="T21" y="T23"/>
              </a:cxn>
            </a:cxnLst>
            <a:rect l="0" t="0" r="r" b="b"/>
            <a:pathLst>
              <a:path w="3041" h="1226">
                <a:moveTo>
                  <a:pt x="2428" y="0"/>
                </a:moveTo>
                <a:lnTo>
                  <a:pt x="0" y="0"/>
                </a:lnTo>
                <a:lnTo>
                  <a:pt x="0" y="1226"/>
                </a:lnTo>
                <a:lnTo>
                  <a:pt x="2428" y="1226"/>
                </a:lnTo>
                <a:lnTo>
                  <a:pt x="3041" y="613"/>
                </a:lnTo>
                <a:lnTo>
                  <a:pt x="2428" y="0"/>
                </a:ln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1400">
                <a:solidFill>
                  <a:schemeClr val="bg1"/>
                </a:solidFill>
              </a:rPr>
              <a:t>List (K2, V2)</a:t>
            </a:r>
            <a:endParaRPr lang="en-IN" sz="1400">
              <a:solidFill>
                <a:schemeClr val="bg1"/>
              </a:solidFill>
            </a:endParaRPr>
          </a:p>
        </p:txBody>
      </p:sp>
      <p:sp>
        <p:nvSpPr>
          <p:cNvPr id="54" name="Freeform 53"/>
          <p:cNvSpPr>
            <a:spLocks/>
          </p:cNvSpPr>
          <p:nvPr/>
        </p:nvSpPr>
        <p:spPr bwMode="gray">
          <a:xfrm>
            <a:off x="6040033" y="3808635"/>
            <a:ext cx="1222004" cy="492419"/>
          </a:xfrm>
          <a:custGeom>
            <a:avLst/>
            <a:gdLst>
              <a:gd name="T0" fmla="+- 0 19468 17040"/>
              <a:gd name="T1" fmla="*/ T0 w 3041"/>
              <a:gd name="T2" fmla="+- 0 14 14"/>
              <a:gd name="T3" fmla="*/ 14 h 1226"/>
              <a:gd name="T4" fmla="+- 0 17040 17040"/>
              <a:gd name="T5" fmla="*/ T4 w 3041"/>
              <a:gd name="T6" fmla="+- 0 14 14"/>
              <a:gd name="T7" fmla="*/ 14 h 1226"/>
              <a:gd name="T8" fmla="+- 0 17040 17040"/>
              <a:gd name="T9" fmla="*/ T8 w 3041"/>
              <a:gd name="T10" fmla="+- 0 1241 14"/>
              <a:gd name="T11" fmla="*/ 1241 h 1226"/>
              <a:gd name="T12" fmla="+- 0 19468 17040"/>
              <a:gd name="T13" fmla="*/ T12 w 3041"/>
              <a:gd name="T14" fmla="+- 0 1241 14"/>
              <a:gd name="T15" fmla="*/ 1241 h 1226"/>
              <a:gd name="T16" fmla="+- 0 20081 17040"/>
              <a:gd name="T17" fmla="*/ T16 w 3041"/>
              <a:gd name="T18" fmla="+- 0 628 14"/>
              <a:gd name="T19" fmla="*/ 628 h 1226"/>
              <a:gd name="T20" fmla="+- 0 19468 17040"/>
              <a:gd name="T21" fmla="*/ T20 w 3041"/>
              <a:gd name="T22" fmla="+- 0 14 14"/>
              <a:gd name="T23" fmla="*/ 14 h 1226"/>
            </a:gdLst>
            <a:ahLst/>
            <a:cxnLst>
              <a:cxn ang="0">
                <a:pos x="T1" y="T3"/>
              </a:cxn>
              <a:cxn ang="0">
                <a:pos x="T5" y="T7"/>
              </a:cxn>
              <a:cxn ang="0">
                <a:pos x="T9" y="T11"/>
              </a:cxn>
              <a:cxn ang="0">
                <a:pos x="T13" y="T15"/>
              </a:cxn>
              <a:cxn ang="0">
                <a:pos x="T17" y="T19"/>
              </a:cxn>
              <a:cxn ang="0">
                <a:pos x="T21" y="T23"/>
              </a:cxn>
            </a:cxnLst>
            <a:rect l="0" t="0" r="r" b="b"/>
            <a:pathLst>
              <a:path w="3041" h="1226">
                <a:moveTo>
                  <a:pt x="2428" y="0"/>
                </a:moveTo>
                <a:lnTo>
                  <a:pt x="0" y="0"/>
                </a:lnTo>
                <a:lnTo>
                  <a:pt x="0" y="1227"/>
                </a:lnTo>
                <a:lnTo>
                  <a:pt x="2428" y="1227"/>
                </a:lnTo>
                <a:lnTo>
                  <a:pt x="3041" y="614"/>
                </a:lnTo>
                <a:lnTo>
                  <a:pt x="2428" y="0"/>
                </a:ln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1400">
                <a:solidFill>
                  <a:schemeClr val="bg1"/>
                </a:solidFill>
              </a:rPr>
              <a:t>List (K3, V3</a:t>
            </a:r>
            <a:r>
              <a:rPr lang="en-US" sz="1400" smtClean="0">
                <a:solidFill>
                  <a:schemeClr val="bg1"/>
                </a:solidFill>
              </a:rPr>
              <a:t>)</a:t>
            </a:r>
            <a:endParaRPr lang="en-IN" sz="1400">
              <a:solidFill>
                <a:schemeClr val="bg1"/>
              </a:solidFill>
            </a:endParaRPr>
          </a:p>
        </p:txBody>
      </p:sp>
      <p:sp>
        <p:nvSpPr>
          <p:cNvPr id="56" name="Rectangle 55"/>
          <p:cNvSpPr/>
          <p:nvPr/>
        </p:nvSpPr>
        <p:spPr bwMode="gray">
          <a:xfrm>
            <a:off x="4417618" y="2238524"/>
            <a:ext cx="676788" cy="369332"/>
          </a:xfrm>
          <a:prstGeom prst="rect">
            <a:avLst/>
          </a:prstGeom>
        </p:spPr>
        <p:txBody>
          <a:bodyPr wrap="none" anchor="ctr">
            <a:spAutoFit/>
          </a:bodyPr>
          <a:lstStyle/>
          <a:p>
            <a:pPr algn="ctr"/>
            <a:r>
              <a:rPr lang="en-US"/>
              <a:t>Map:</a:t>
            </a:r>
            <a:endParaRPr lang="en-IN"/>
          </a:p>
        </p:txBody>
      </p:sp>
      <p:sp>
        <p:nvSpPr>
          <p:cNvPr id="57" name="Rectangle 56"/>
          <p:cNvSpPr/>
          <p:nvPr/>
        </p:nvSpPr>
        <p:spPr bwMode="gray">
          <a:xfrm>
            <a:off x="4417618" y="3437050"/>
            <a:ext cx="940450" cy="369332"/>
          </a:xfrm>
          <a:prstGeom prst="rect">
            <a:avLst/>
          </a:prstGeom>
        </p:spPr>
        <p:txBody>
          <a:bodyPr wrap="none" anchor="ctr">
            <a:spAutoFit/>
          </a:bodyPr>
          <a:lstStyle/>
          <a:p>
            <a:pPr algn="ctr"/>
            <a:r>
              <a:rPr lang="en-US"/>
              <a:t>Reduce:</a:t>
            </a:r>
            <a:endParaRPr lang="en-IN"/>
          </a:p>
        </p:txBody>
      </p:sp>
    </p:spTree>
    <p:extLst>
      <p:ext uri="{BB962C8B-B14F-4D97-AF65-F5344CB8AC3E}">
        <p14:creationId xmlns:p14="http://schemas.microsoft.com/office/powerpoint/2010/main" val="52882639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MAP REDUCE – ADVANTAGE</a:t>
            </a:r>
            <a:endParaRPr lang="en-IN"/>
          </a:p>
        </p:txBody>
      </p:sp>
      <p:sp>
        <p:nvSpPr>
          <p:cNvPr id="148" name="Text Placeholder 147"/>
          <p:cNvSpPr>
            <a:spLocks noGrp="1"/>
          </p:cNvSpPr>
          <p:nvPr>
            <p:ph type="body" sz="quarter" idx="10"/>
          </p:nvPr>
        </p:nvSpPr>
        <p:spPr bwMode="gray">
          <a:xfrm>
            <a:off x="839988" y="1959934"/>
            <a:ext cx="2962606" cy="656590"/>
          </a:xfrm>
        </p:spPr>
        <p:txBody>
          <a:bodyPr wrap="none" lIns="0" tIns="0" rIns="0" bIns="0">
            <a:spAutoFit/>
          </a:bodyPr>
          <a:lstStyle/>
          <a:p>
            <a:pPr marL="233363" indent="-233363">
              <a:lnSpc>
                <a:spcPct val="100000"/>
              </a:lnSpc>
              <a:spcBef>
                <a:spcPts val="800"/>
              </a:spcBef>
              <a:buFont typeface="Arial" panose="020B0604020202020204" pitchFamily="34" charset="0"/>
              <a:buChar char="»"/>
            </a:pPr>
            <a:r>
              <a:rPr lang="en-IN" sz="1800" dirty="0">
                <a:solidFill>
                  <a:schemeClr val="tx1"/>
                </a:solidFill>
              </a:rPr>
              <a:t>Taking processing to the data</a:t>
            </a:r>
          </a:p>
          <a:p>
            <a:pPr marL="233363" indent="-233363">
              <a:lnSpc>
                <a:spcPct val="100000"/>
              </a:lnSpc>
              <a:spcBef>
                <a:spcPts val="800"/>
              </a:spcBef>
              <a:buFont typeface="Arial" panose="020B0604020202020204" pitchFamily="34" charset="0"/>
              <a:buChar char="»"/>
            </a:pPr>
            <a:r>
              <a:rPr lang="en-IN" sz="1800" dirty="0">
                <a:solidFill>
                  <a:schemeClr val="tx1"/>
                </a:solidFill>
              </a:rPr>
              <a:t>Processing data in </a:t>
            </a:r>
            <a:r>
              <a:rPr lang="en-IN" sz="1800" dirty="0" smtClean="0">
                <a:solidFill>
                  <a:schemeClr val="tx1"/>
                </a:solidFill>
              </a:rPr>
              <a:t>parallel</a:t>
            </a:r>
            <a:endParaRPr lang="en-IN" sz="1800" dirty="0">
              <a:solidFill>
                <a:schemeClr val="tx1"/>
              </a:solidFill>
            </a:endParaRPr>
          </a:p>
        </p:txBody>
      </p:sp>
      <p:sp>
        <p:nvSpPr>
          <p:cNvPr id="5" name="Rectangle 4"/>
          <p:cNvSpPr/>
          <p:nvPr/>
        </p:nvSpPr>
        <p:spPr bwMode="gray">
          <a:xfrm>
            <a:off x="562934" y="1575022"/>
            <a:ext cx="2758191" cy="307777"/>
          </a:xfrm>
          <a:prstGeom prst="rect">
            <a:avLst/>
          </a:prstGeom>
        </p:spPr>
        <p:txBody>
          <a:bodyPr wrap="none" lIns="0" tIns="0" rIns="0" bIns="0">
            <a:spAutoFit/>
          </a:bodyPr>
          <a:lstStyle/>
          <a:p>
            <a:pPr marL="233363" indent="-233363">
              <a:buClr>
                <a:schemeClr val="bg2"/>
              </a:buClr>
              <a:buSzPct val="125000"/>
              <a:buFont typeface="Arial" panose="020B0604020202020204" pitchFamily="34" charset="0"/>
              <a:buChar char="›"/>
            </a:pPr>
            <a:r>
              <a:rPr lang="en-US" sz="2000" spc="-100" dirty="0" smtClean="0">
                <a:ea typeface="Calibri"/>
                <a:cs typeface="Calibri"/>
              </a:rPr>
              <a:t>T</a:t>
            </a:r>
            <a:r>
              <a:rPr lang="en-US" sz="2000" spc="-25" dirty="0" smtClean="0">
                <a:ea typeface="Calibri"/>
                <a:cs typeface="Calibri"/>
              </a:rPr>
              <a:t>w</a:t>
            </a:r>
            <a:r>
              <a:rPr lang="en-US" sz="2000" dirty="0" smtClean="0">
                <a:ea typeface="Calibri"/>
                <a:cs typeface="Calibri"/>
              </a:rPr>
              <a:t>o</a:t>
            </a:r>
            <a:r>
              <a:rPr lang="en-US" sz="2000" spc="-25" dirty="0" smtClean="0">
                <a:ea typeface="Calibri"/>
                <a:cs typeface="Calibri"/>
              </a:rPr>
              <a:t> </a:t>
            </a:r>
            <a:r>
              <a:rPr lang="en-US" sz="2000" dirty="0">
                <a:ea typeface="Calibri"/>
                <a:cs typeface="Calibri"/>
              </a:rPr>
              <a:t>bi</a:t>
            </a:r>
            <a:r>
              <a:rPr lang="en-US" sz="2000" spc="20" dirty="0">
                <a:ea typeface="Calibri"/>
                <a:cs typeface="Calibri"/>
              </a:rPr>
              <a:t>g</a:t>
            </a:r>
            <a:r>
              <a:rPr lang="en-US" sz="2000" spc="-25" dirty="0">
                <a:ea typeface="Calibri"/>
                <a:cs typeface="Calibri"/>
              </a:rPr>
              <a:t>g</a:t>
            </a:r>
            <a:r>
              <a:rPr lang="en-US" sz="2000" dirty="0">
                <a:ea typeface="Calibri"/>
                <a:cs typeface="Calibri"/>
              </a:rPr>
              <a:t>e</a:t>
            </a:r>
            <a:r>
              <a:rPr lang="en-US" sz="2000" spc="-20" dirty="0">
                <a:ea typeface="Calibri"/>
                <a:cs typeface="Calibri"/>
              </a:rPr>
              <a:t>s</a:t>
            </a:r>
            <a:r>
              <a:rPr lang="en-US" sz="2000" dirty="0">
                <a:ea typeface="Calibri"/>
                <a:cs typeface="Calibri"/>
              </a:rPr>
              <a:t>t</a:t>
            </a:r>
            <a:r>
              <a:rPr lang="en-US" sz="2000" spc="-55" dirty="0">
                <a:ea typeface="Calibri"/>
                <a:cs typeface="Calibri"/>
              </a:rPr>
              <a:t> </a:t>
            </a:r>
            <a:r>
              <a:rPr lang="en-US" sz="2000" dirty="0">
                <a:ea typeface="Calibri"/>
                <a:cs typeface="Calibri"/>
              </a:rPr>
              <a:t>Ad</a:t>
            </a:r>
            <a:r>
              <a:rPr lang="en-US" sz="2000" spc="-40" dirty="0">
                <a:ea typeface="Calibri"/>
                <a:cs typeface="Calibri"/>
              </a:rPr>
              <a:t>v</a:t>
            </a:r>
            <a:r>
              <a:rPr lang="en-US" sz="2000" dirty="0">
                <a:ea typeface="Calibri"/>
                <a:cs typeface="Calibri"/>
              </a:rPr>
              <a:t>a</a:t>
            </a:r>
            <a:r>
              <a:rPr lang="en-US" sz="2000" spc="-25" dirty="0">
                <a:ea typeface="Calibri"/>
                <a:cs typeface="Calibri"/>
              </a:rPr>
              <a:t>nt</a:t>
            </a:r>
            <a:r>
              <a:rPr lang="en-US" sz="2000" dirty="0">
                <a:ea typeface="Calibri"/>
                <a:cs typeface="Calibri"/>
              </a:rPr>
              <a:t>a</a:t>
            </a:r>
            <a:r>
              <a:rPr lang="en-US" sz="2000" spc="-25" dirty="0">
                <a:ea typeface="Calibri"/>
                <a:cs typeface="Calibri"/>
              </a:rPr>
              <a:t>g</a:t>
            </a:r>
            <a:r>
              <a:rPr lang="en-US" sz="2000" dirty="0">
                <a:ea typeface="Calibri"/>
                <a:cs typeface="Calibri"/>
              </a:rPr>
              <a:t>es:</a:t>
            </a:r>
            <a:endParaRPr lang="en-IN" sz="2000" dirty="0"/>
          </a:p>
        </p:txBody>
      </p:sp>
      <p:grpSp>
        <p:nvGrpSpPr>
          <p:cNvPr id="142" name="Group 141"/>
          <p:cNvGrpSpPr/>
          <p:nvPr/>
        </p:nvGrpSpPr>
        <p:grpSpPr bwMode="gray">
          <a:xfrm>
            <a:off x="3919120" y="1328368"/>
            <a:ext cx="4723482" cy="3583874"/>
            <a:chOff x="1057275" y="722313"/>
            <a:chExt cx="8086725" cy="6135687"/>
          </a:xfrm>
        </p:grpSpPr>
        <p:grpSp>
          <p:nvGrpSpPr>
            <p:cNvPr id="7" name="Group 2"/>
            <p:cNvGrpSpPr>
              <a:grpSpLocks/>
            </p:cNvGrpSpPr>
            <p:nvPr/>
          </p:nvGrpSpPr>
          <p:grpSpPr bwMode="gray">
            <a:xfrm>
              <a:off x="1057275" y="722313"/>
              <a:ext cx="2303463" cy="6134100"/>
              <a:chOff x="10421" y="-763"/>
              <a:chExt cx="3626" cy="9660"/>
            </a:xfrm>
          </p:grpSpPr>
          <p:grpSp>
            <p:nvGrpSpPr>
              <p:cNvPr id="8" name="Group 3"/>
              <p:cNvGrpSpPr>
                <a:grpSpLocks/>
              </p:cNvGrpSpPr>
              <p:nvPr/>
            </p:nvGrpSpPr>
            <p:grpSpPr bwMode="gray">
              <a:xfrm>
                <a:off x="10441" y="-743"/>
                <a:ext cx="3586" cy="9619"/>
                <a:chOff x="10441" y="-743"/>
                <a:chExt cx="3586" cy="9619"/>
              </a:xfrm>
            </p:grpSpPr>
            <p:sp>
              <p:nvSpPr>
                <p:cNvPr id="51" name="Freeform 4"/>
                <p:cNvSpPr>
                  <a:spLocks/>
                </p:cNvSpPr>
                <p:nvPr/>
              </p:nvSpPr>
              <p:spPr bwMode="gray">
                <a:xfrm>
                  <a:off x="10441" y="-743"/>
                  <a:ext cx="3586" cy="9619"/>
                </a:xfrm>
                <a:custGeom>
                  <a:avLst/>
                  <a:gdLst>
                    <a:gd name="T0" fmla="+- 0 10441 10441"/>
                    <a:gd name="T1" fmla="*/ T0 w 3586"/>
                    <a:gd name="T2" fmla="+- 0 8876 -743"/>
                    <a:gd name="T3" fmla="*/ 8876 h 9619"/>
                    <a:gd name="T4" fmla="+- 0 14027 10441"/>
                    <a:gd name="T5" fmla="*/ T4 w 3586"/>
                    <a:gd name="T6" fmla="+- 0 8876 -743"/>
                    <a:gd name="T7" fmla="*/ 8876 h 9619"/>
                    <a:gd name="T8" fmla="+- 0 14027 10441"/>
                    <a:gd name="T9" fmla="*/ T8 w 3586"/>
                    <a:gd name="T10" fmla="+- 0 -743 -743"/>
                    <a:gd name="T11" fmla="*/ -743 h 9619"/>
                    <a:gd name="T12" fmla="+- 0 10441 10441"/>
                    <a:gd name="T13" fmla="*/ T12 w 3586"/>
                    <a:gd name="T14" fmla="+- 0 -743 -743"/>
                    <a:gd name="T15" fmla="*/ -743 h 9619"/>
                    <a:gd name="T16" fmla="+- 0 10441 10441"/>
                    <a:gd name="T17" fmla="*/ T16 w 3586"/>
                    <a:gd name="T18" fmla="+- 0 8876 -743"/>
                    <a:gd name="T19" fmla="*/ 8876 h 9619"/>
                  </a:gdLst>
                  <a:ahLst/>
                  <a:cxnLst>
                    <a:cxn ang="0">
                      <a:pos x="T1" y="T3"/>
                    </a:cxn>
                    <a:cxn ang="0">
                      <a:pos x="T5" y="T7"/>
                    </a:cxn>
                    <a:cxn ang="0">
                      <a:pos x="T9" y="T11"/>
                    </a:cxn>
                    <a:cxn ang="0">
                      <a:pos x="T13" y="T15"/>
                    </a:cxn>
                    <a:cxn ang="0">
                      <a:pos x="T17" y="T19"/>
                    </a:cxn>
                  </a:cxnLst>
                  <a:rect l="0" t="0" r="r" b="b"/>
                  <a:pathLst>
                    <a:path w="3586" h="9619">
                      <a:moveTo>
                        <a:pt x="0" y="9619"/>
                      </a:moveTo>
                      <a:lnTo>
                        <a:pt x="3586" y="9619"/>
                      </a:lnTo>
                      <a:lnTo>
                        <a:pt x="3586" y="0"/>
                      </a:lnTo>
                      <a:lnTo>
                        <a:pt x="0" y="0"/>
                      </a:lnTo>
                      <a:lnTo>
                        <a:pt x="0" y="9619"/>
                      </a:ln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9" name="Group 5"/>
              <p:cNvGrpSpPr>
                <a:grpSpLocks/>
              </p:cNvGrpSpPr>
              <p:nvPr/>
            </p:nvGrpSpPr>
            <p:grpSpPr bwMode="gray">
              <a:xfrm>
                <a:off x="10441" y="-743"/>
                <a:ext cx="3586" cy="9619"/>
                <a:chOff x="10441" y="-743"/>
                <a:chExt cx="3586" cy="9619"/>
              </a:xfrm>
            </p:grpSpPr>
            <p:sp>
              <p:nvSpPr>
                <p:cNvPr id="50" name="Freeform 6"/>
                <p:cNvSpPr>
                  <a:spLocks/>
                </p:cNvSpPr>
                <p:nvPr/>
              </p:nvSpPr>
              <p:spPr bwMode="gray">
                <a:xfrm>
                  <a:off x="10441" y="-743"/>
                  <a:ext cx="3586" cy="9619"/>
                </a:xfrm>
                <a:custGeom>
                  <a:avLst/>
                  <a:gdLst>
                    <a:gd name="T0" fmla="+- 0 10441 10441"/>
                    <a:gd name="T1" fmla="*/ T0 w 3586"/>
                    <a:gd name="T2" fmla="+- 0 8876 -743"/>
                    <a:gd name="T3" fmla="*/ 8876 h 9619"/>
                    <a:gd name="T4" fmla="+- 0 14027 10441"/>
                    <a:gd name="T5" fmla="*/ T4 w 3586"/>
                    <a:gd name="T6" fmla="+- 0 8876 -743"/>
                    <a:gd name="T7" fmla="*/ 8876 h 9619"/>
                    <a:gd name="T8" fmla="+- 0 14027 10441"/>
                    <a:gd name="T9" fmla="*/ T8 w 3586"/>
                    <a:gd name="T10" fmla="+- 0 -743 -743"/>
                    <a:gd name="T11" fmla="*/ -743 h 9619"/>
                    <a:gd name="T12" fmla="+- 0 10441 10441"/>
                    <a:gd name="T13" fmla="*/ T12 w 3586"/>
                    <a:gd name="T14" fmla="+- 0 -743 -743"/>
                    <a:gd name="T15" fmla="*/ -743 h 9619"/>
                    <a:gd name="T16" fmla="+- 0 10441 10441"/>
                    <a:gd name="T17" fmla="*/ T16 w 3586"/>
                    <a:gd name="T18" fmla="+- 0 8876 -743"/>
                    <a:gd name="T19" fmla="*/ 8876 h 9619"/>
                  </a:gdLst>
                  <a:ahLst/>
                  <a:cxnLst>
                    <a:cxn ang="0">
                      <a:pos x="T1" y="T3"/>
                    </a:cxn>
                    <a:cxn ang="0">
                      <a:pos x="T5" y="T7"/>
                    </a:cxn>
                    <a:cxn ang="0">
                      <a:pos x="T9" y="T11"/>
                    </a:cxn>
                    <a:cxn ang="0">
                      <a:pos x="T13" y="T15"/>
                    </a:cxn>
                    <a:cxn ang="0">
                      <a:pos x="T17" y="T19"/>
                    </a:cxn>
                  </a:cxnLst>
                  <a:rect l="0" t="0" r="r" b="b"/>
                  <a:pathLst>
                    <a:path w="3586" h="9619">
                      <a:moveTo>
                        <a:pt x="0" y="9619"/>
                      </a:moveTo>
                      <a:lnTo>
                        <a:pt x="3586" y="9619"/>
                      </a:lnTo>
                      <a:lnTo>
                        <a:pt x="3586" y="0"/>
                      </a:lnTo>
                      <a:lnTo>
                        <a:pt x="0" y="0"/>
                      </a:lnTo>
                      <a:lnTo>
                        <a:pt x="0" y="9619"/>
                      </a:lnTo>
                      <a:close/>
                    </a:path>
                  </a:pathLst>
                </a:custGeom>
                <a:noFill/>
                <a:ln w="25908">
                  <a:solidFill>
                    <a:srgbClr val="385D89"/>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10" name="Group 7"/>
              <p:cNvGrpSpPr>
                <a:grpSpLocks/>
              </p:cNvGrpSpPr>
              <p:nvPr/>
            </p:nvGrpSpPr>
            <p:grpSpPr bwMode="gray">
              <a:xfrm>
                <a:off x="10914" y="-140"/>
                <a:ext cx="2518" cy="799"/>
                <a:chOff x="10914" y="-140"/>
                <a:chExt cx="2518" cy="799"/>
              </a:xfrm>
            </p:grpSpPr>
            <p:sp>
              <p:nvSpPr>
                <p:cNvPr id="49" name="Freeform 8"/>
                <p:cNvSpPr>
                  <a:spLocks/>
                </p:cNvSpPr>
                <p:nvPr/>
              </p:nvSpPr>
              <p:spPr bwMode="gray">
                <a:xfrm>
                  <a:off x="10914" y="-140"/>
                  <a:ext cx="2518" cy="799"/>
                </a:xfrm>
                <a:custGeom>
                  <a:avLst/>
                  <a:gdLst>
                    <a:gd name="T0" fmla="+- 0 10914 10914"/>
                    <a:gd name="T1" fmla="*/ T0 w 2518"/>
                    <a:gd name="T2" fmla="+- 0 659 -140"/>
                    <a:gd name="T3" fmla="*/ 659 h 799"/>
                    <a:gd name="T4" fmla="+- 0 13432 10914"/>
                    <a:gd name="T5" fmla="*/ T4 w 2518"/>
                    <a:gd name="T6" fmla="+- 0 659 -140"/>
                    <a:gd name="T7" fmla="*/ 659 h 799"/>
                    <a:gd name="T8" fmla="+- 0 13432 10914"/>
                    <a:gd name="T9" fmla="*/ T8 w 2518"/>
                    <a:gd name="T10" fmla="+- 0 -140 -140"/>
                    <a:gd name="T11" fmla="*/ -140 h 799"/>
                    <a:gd name="T12" fmla="+- 0 10914 10914"/>
                    <a:gd name="T13" fmla="*/ T12 w 2518"/>
                    <a:gd name="T14" fmla="+- 0 -140 -140"/>
                    <a:gd name="T15" fmla="*/ -140 h 799"/>
                    <a:gd name="T16" fmla="+- 0 10914 10914"/>
                    <a:gd name="T17" fmla="*/ T16 w 2518"/>
                    <a:gd name="T18" fmla="+- 0 659 -140"/>
                    <a:gd name="T19" fmla="*/ 659 h 799"/>
                  </a:gdLst>
                  <a:ahLst/>
                  <a:cxnLst>
                    <a:cxn ang="0">
                      <a:pos x="T1" y="T3"/>
                    </a:cxn>
                    <a:cxn ang="0">
                      <a:pos x="T5" y="T7"/>
                    </a:cxn>
                    <a:cxn ang="0">
                      <a:pos x="T9" y="T11"/>
                    </a:cxn>
                    <a:cxn ang="0">
                      <a:pos x="T13" y="T15"/>
                    </a:cxn>
                    <a:cxn ang="0">
                      <a:pos x="T17" y="T19"/>
                    </a:cxn>
                  </a:cxnLst>
                  <a:rect l="0" t="0" r="r" b="b"/>
                  <a:pathLst>
                    <a:path w="2518" h="799">
                      <a:moveTo>
                        <a:pt x="0" y="799"/>
                      </a:moveTo>
                      <a:lnTo>
                        <a:pt x="2518" y="799"/>
                      </a:lnTo>
                      <a:lnTo>
                        <a:pt x="2518"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1" name="Group 9"/>
              <p:cNvGrpSpPr>
                <a:grpSpLocks/>
              </p:cNvGrpSpPr>
              <p:nvPr/>
            </p:nvGrpSpPr>
            <p:grpSpPr bwMode="gray">
              <a:xfrm>
                <a:off x="10914" y="-140"/>
                <a:ext cx="2518" cy="799"/>
                <a:chOff x="10914" y="-140"/>
                <a:chExt cx="2518" cy="799"/>
              </a:xfrm>
            </p:grpSpPr>
            <p:sp>
              <p:nvSpPr>
                <p:cNvPr id="48" name="Freeform 10"/>
                <p:cNvSpPr>
                  <a:spLocks/>
                </p:cNvSpPr>
                <p:nvPr/>
              </p:nvSpPr>
              <p:spPr bwMode="gray">
                <a:xfrm>
                  <a:off x="10914" y="-140"/>
                  <a:ext cx="2518" cy="799"/>
                </a:xfrm>
                <a:custGeom>
                  <a:avLst/>
                  <a:gdLst>
                    <a:gd name="T0" fmla="+- 0 10914 10914"/>
                    <a:gd name="T1" fmla="*/ T0 w 2518"/>
                    <a:gd name="T2" fmla="+- 0 659 -140"/>
                    <a:gd name="T3" fmla="*/ 659 h 799"/>
                    <a:gd name="T4" fmla="+- 0 13432 10914"/>
                    <a:gd name="T5" fmla="*/ T4 w 2518"/>
                    <a:gd name="T6" fmla="+- 0 659 -140"/>
                    <a:gd name="T7" fmla="*/ 659 h 799"/>
                    <a:gd name="T8" fmla="+- 0 13432 10914"/>
                    <a:gd name="T9" fmla="*/ T8 w 2518"/>
                    <a:gd name="T10" fmla="+- 0 -140 -140"/>
                    <a:gd name="T11" fmla="*/ -140 h 799"/>
                    <a:gd name="T12" fmla="+- 0 10914 10914"/>
                    <a:gd name="T13" fmla="*/ T12 w 2518"/>
                    <a:gd name="T14" fmla="+- 0 -140 -140"/>
                    <a:gd name="T15" fmla="*/ -140 h 799"/>
                    <a:gd name="T16" fmla="+- 0 10914 10914"/>
                    <a:gd name="T17" fmla="*/ T16 w 2518"/>
                    <a:gd name="T18" fmla="+- 0 659 -140"/>
                    <a:gd name="T19" fmla="*/ 659 h 799"/>
                  </a:gdLst>
                  <a:ahLst/>
                  <a:cxnLst>
                    <a:cxn ang="0">
                      <a:pos x="T1" y="T3"/>
                    </a:cxn>
                    <a:cxn ang="0">
                      <a:pos x="T5" y="T7"/>
                    </a:cxn>
                    <a:cxn ang="0">
                      <a:pos x="T9" y="T11"/>
                    </a:cxn>
                    <a:cxn ang="0">
                      <a:pos x="T13" y="T15"/>
                    </a:cxn>
                    <a:cxn ang="0">
                      <a:pos x="T17" y="T19"/>
                    </a:cxn>
                  </a:cxnLst>
                  <a:rect l="0" t="0" r="r" b="b"/>
                  <a:pathLst>
                    <a:path w="2518" h="799">
                      <a:moveTo>
                        <a:pt x="0" y="799"/>
                      </a:moveTo>
                      <a:lnTo>
                        <a:pt x="2518" y="799"/>
                      </a:lnTo>
                      <a:lnTo>
                        <a:pt x="2518"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12" name="Group 11"/>
              <p:cNvGrpSpPr>
                <a:grpSpLocks/>
              </p:cNvGrpSpPr>
              <p:nvPr/>
            </p:nvGrpSpPr>
            <p:grpSpPr bwMode="gray">
              <a:xfrm>
                <a:off x="10914" y="930"/>
                <a:ext cx="2518" cy="799"/>
                <a:chOff x="10914" y="930"/>
                <a:chExt cx="2518" cy="799"/>
              </a:xfrm>
            </p:grpSpPr>
            <p:sp>
              <p:nvSpPr>
                <p:cNvPr id="47" name="Freeform 12"/>
                <p:cNvSpPr>
                  <a:spLocks/>
                </p:cNvSpPr>
                <p:nvPr/>
              </p:nvSpPr>
              <p:spPr bwMode="gray">
                <a:xfrm>
                  <a:off x="10914" y="930"/>
                  <a:ext cx="2518" cy="799"/>
                </a:xfrm>
                <a:custGeom>
                  <a:avLst/>
                  <a:gdLst>
                    <a:gd name="T0" fmla="+- 0 10914 10914"/>
                    <a:gd name="T1" fmla="*/ T0 w 2518"/>
                    <a:gd name="T2" fmla="+- 0 1729 930"/>
                    <a:gd name="T3" fmla="*/ 1729 h 799"/>
                    <a:gd name="T4" fmla="+- 0 13432 10914"/>
                    <a:gd name="T5" fmla="*/ T4 w 2518"/>
                    <a:gd name="T6" fmla="+- 0 1729 930"/>
                    <a:gd name="T7" fmla="*/ 1729 h 799"/>
                    <a:gd name="T8" fmla="+- 0 13432 10914"/>
                    <a:gd name="T9" fmla="*/ T8 w 2518"/>
                    <a:gd name="T10" fmla="+- 0 930 930"/>
                    <a:gd name="T11" fmla="*/ 930 h 799"/>
                    <a:gd name="T12" fmla="+- 0 10914 10914"/>
                    <a:gd name="T13" fmla="*/ T12 w 2518"/>
                    <a:gd name="T14" fmla="+- 0 930 930"/>
                    <a:gd name="T15" fmla="*/ 930 h 799"/>
                    <a:gd name="T16" fmla="+- 0 10914 10914"/>
                    <a:gd name="T17" fmla="*/ T16 w 2518"/>
                    <a:gd name="T18" fmla="+- 0 1729 930"/>
                    <a:gd name="T19" fmla="*/ 1729 h 799"/>
                  </a:gdLst>
                  <a:ahLst/>
                  <a:cxnLst>
                    <a:cxn ang="0">
                      <a:pos x="T1" y="T3"/>
                    </a:cxn>
                    <a:cxn ang="0">
                      <a:pos x="T5" y="T7"/>
                    </a:cxn>
                    <a:cxn ang="0">
                      <a:pos x="T9" y="T11"/>
                    </a:cxn>
                    <a:cxn ang="0">
                      <a:pos x="T13" y="T15"/>
                    </a:cxn>
                    <a:cxn ang="0">
                      <a:pos x="T17" y="T19"/>
                    </a:cxn>
                  </a:cxnLst>
                  <a:rect l="0" t="0" r="r" b="b"/>
                  <a:pathLst>
                    <a:path w="2518" h="799">
                      <a:moveTo>
                        <a:pt x="0" y="799"/>
                      </a:moveTo>
                      <a:lnTo>
                        <a:pt x="2518" y="799"/>
                      </a:lnTo>
                      <a:lnTo>
                        <a:pt x="2518"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3" name="Group 13"/>
              <p:cNvGrpSpPr>
                <a:grpSpLocks/>
              </p:cNvGrpSpPr>
              <p:nvPr/>
            </p:nvGrpSpPr>
            <p:grpSpPr bwMode="gray">
              <a:xfrm>
                <a:off x="10914" y="930"/>
                <a:ext cx="2518" cy="799"/>
                <a:chOff x="10914" y="930"/>
                <a:chExt cx="2518" cy="799"/>
              </a:xfrm>
            </p:grpSpPr>
            <p:sp>
              <p:nvSpPr>
                <p:cNvPr id="46" name="Freeform 14"/>
                <p:cNvSpPr>
                  <a:spLocks/>
                </p:cNvSpPr>
                <p:nvPr/>
              </p:nvSpPr>
              <p:spPr bwMode="gray">
                <a:xfrm>
                  <a:off x="10914" y="930"/>
                  <a:ext cx="2518" cy="799"/>
                </a:xfrm>
                <a:custGeom>
                  <a:avLst/>
                  <a:gdLst>
                    <a:gd name="T0" fmla="+- 0 10914 10914"/>
                    <a:gd name="T1" fmla="*/ T0 w 2518"/>
                    <a:gd name="T2" fmla="+- 0 1729 930"/>
                    <a:gd name="T3" fmla="*/ 1729 h 799"/>
                    <a:gd name="T4" fmla="+- 0 13432 10914"/>
                    <a:gd name="T5" fmla="*/ T4 w 2518"/>
                    <a:gd name="T6" fmla="+- 0 1729 930"/>
                    <a:gd name="T7" fmla="*/ 1729 h 799"/>
                    <a:gd name="T8" fmla="+- 0 13432 10914"/>
                    <a:gd name="T9" fmla="*/ T8 w 2518"/>
                    <a:gd name="T10" fmla="+- 0 930 930"/>
                    <a:gd name="T11" fmla="*/ 930 h 799"/>
                    <a:gd name="T12" fmla="+- 0 10914 10914"/>
                    <a:gd name="T13" fmla="*/ T12 w 2518"/>
                    <a:gd name="T14" fmla="+- 0 930 930"/>
                    <a:gd name="T15" fmla="*/ 930 h 799"/>
                    <a:gd name="T16" fmla="+- 0 10914 10914"/>
                    <a:gd name="T17" fmla="*/ T16 w 2518"/>
                    <a:gd name="T18" fmla="+- 0 1729 930"/>
                    <a:gd name="T19" fmla="*/ 1729 h 799"/>
                  </a:gdLst>
                  <a:ahLst/>
                  <a:cxnLst>
                    <a:cxn ang="0">
                      <a:pos x="T1" y="T3"/>
                    </a:cxn>
                    <a:cxn ang="0">
                      <a:pos x="T5" y="T7"/>
                    </a:cxn>
                    <a:cxn ang="0">
                      <a:pos x="T9" y="T11"/>
                    </a:cxn>
                    <a:cxn ang="0">
                      <a:pos x="T13" y="T15"/>
                    </a:cxn>
                    <a:cxn ang="0">
                      <a:pos x="T17" y="T19"/>
                    </a:cxn>
                  </a:cxnLst>
                  <a:rect l="0" t="0" r="r" b="b"/>
                  <a:pathLst>
                    <a:path w="2518" h="799">
                      <a:moveTo>
                        <a:pt x="0" y="799"/>
                      </a:moveTo>
                      <a:lnTo>
                        <a:pt x="2518" y="799"/>
                      </a:lnTo>
                      <a:lnTo>
                        <a:pt x="2518"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14" name="Group 15"/>
              <p:cNvGrpSpPr>
                <a:grpSpLocks/>
              </p:cNvGrpSpPr>
              <p:nvPr/>
            </p:nvGrpSpPr>
            <p:grpSpPr bwMode="gray">
              <a:xfrm>
                <a:off x="10914" y="2000"/>
                <a:ext cx="2518" cy="799"/>
                <a:chOff x="10914" y="2000"/>
                <a:chExt cx="2518" cy="799"/>
              </a:xfrm>
            </p:grpSpPr>
            <p:sp>
              <p:nvSpPr>
                <p:cNvPr id="45" name="Freeform 16"/>
                <p:cNvSpPr>
                  <a:spLocks/>
                </p:cNvSpPr>
                <p:nvPr/>
              </p:nvSpPr>
              <p:spPr bwMode="gray">
                <a:xfrm>
                  <a:off x="10914" y="2000"/>
                  <a:ext cx="2518" cy="799"/>
                </a:xfrm>
                <a:custGeom>
                  <a:avLst/>
                  <a:gdLst>
                    <a:gd name="T0" fmla="+- 0 10914 10914"/>
                    <a:gd name="T1" fmla="*/ T0 w 2518"/>
                    <a:gd name="T2" fmla="+- 0 2800 2000"/>
                    <a:gd name="T3" fmla="*/ 2800 h 799"/>
                    <a:gd name="T4" fmla="+- 0 13432 10914"/>
                    <a:gd name="T5" fmla="*/ T4 w 2518"/>
                    <a:gd name="T6" fmla="+- 0 2800 2000"/>
                    <a:gd name="T7" fmla="*/ 2800 h 799"/>
                    <a:gd name="T8" fmla="+- 0 13432 10914"/>
                    <a:gd name="T9" fmla="*/ T8 w 2518"/>
                    <a:gd name="T10" fmla="+- 0 2000 2000"/>
                    <a:gd name="T11" fmla="*/ 2000 h 799"/>
                    <a:gd name="T12" fmla="+- 0 10914 10914"/>
                    <a:gd name="T13" fmla="*/ T12 w 2518"/>
                    <a:gd name="T14" fmla="+- 0 2000 2000"/>
                    <a:gd name="T15" fmla="*/ 2000 h 799"/>
                    <a:gd name="T16" fmla="+- 0 10914 10914"/>
                    <a:gd name="T17" fmla="*/ T16 w 2518"/>
                    <a:gd name="T18" fmla="+- 0 2800 2000"/>
                    <a:gd name="T19" fmla="*/ 2800 h 799"/>
                  </a:gdLst>
                  <a:ahLst/>
                  <a:cxnLst>
                    <a:cxn ang="0">
                      <a:pos x="T1" y="T3"/>
                    </a:cxn>
                    <a:cxn ang="0">
                      <a:pos x="T5" y="T7"/>
                    </a:cxn>
                    <a:cxn ang="0">
                      <a:pos x="T9" y="T11"/>
                    </a:cxn>
                    <a:cxn ang="0">
                      <a:pos x="T13" y="T15"/>
                    </a:cxn>
                    <a:cxn ang="0">
                      <a:pos x="T17" y="T19"/>
                    </a:cxn>
                  </a:cxnLst>
                  <a:rect l="0" t="0" r="r" b="b"/>
                  <a:pathLst>
                    <a:path w="2518" h="799">
                      <a:moveTo>
                        <a:pt x="0" y="800"/>
                      </a:moveTo>
                      <a:lnTo>
                        <a:pt x="2518" y="800"/>
                      </a:lnTo>
                      <a:lnTo>
                        <a:pt x="2518" y="0"/>
                      </a:lnTo>
                      <a:lnTo>
                        <a:pt x="0" y="0"/>
                      </a:lnTo>
                      <a:lnTo>
                        <a:pt x="0" y="80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5" name="Group 17"/>
              <p:cNvGrpSpPr>
                <a:grpSpLocks/>
              </p:cNvGrpSpPr>
              <p:nvPr/>
            </p:nvGrpSpPr>
            <p:grpSpPr bwMode="gray">
              <a:xfrm>
                <a:off x="10914" y="2000"/>
                <a:ext cx="2518" cy="799"/>
                <a:chOff x="10914" y="2000"/>
                <a:chExt cx="2518" cy="799"/>
              </a:xfrm>
            </p:grpSpPr>
            <p:sp>
              <p:nvSpPr>
                <p:cNvPr id="44" name="Freeform 18"/>
                <p:cNvSpPr>
                  <a:spLocks/>
                </p:cNvSpPr>
                <p:nvPr/>
              </p:nvSpPr>
              <p:spPr bwMode="gray">
                <a:xfrm>
                  <a:off x="10914" y="2000"/>
                  <a:ext cx="2518" cy="799"/>
                </a:xfrm>
                <a:custGeom>
                  <a:avLst/>
                  <a:gdLst>
                    <a:gd name="T0" fmla="+- 0 10914 10914"/>
                    <a:gd name="T1" fmla="*/ T0 w 2518"/>
                    <a:gd name="T2" fmla="+- 0 2800 2000"/>
                    <a:gd name="T3" fmla="*/ 2800 h 799"/>
                    <a:gd name="T4" fmla="+- 0 13432 10914"/>
                    <a:gd name="T5" fmla="*/ T4 w 2518"/>
                    <a:gd name="T6" fmla="+- 0 2800 2000"/>
                    <a:gd name="T7" fmla="*/ 2800 h 799"/>
                    <a:gd name="T8" fmla="+- 0 13432 10914"/>
                    <a:gd name="T9" fmla="*/ T8 w 2518"/>
                    <a:gd name="T10" fmla="+- 0 2000 2000"/>
                    <a:gd name="T11" fmla="*/ 2000 h 799"/>
                    <a:gd name="T12" fmla="+- 0 10914 10914"/>
                    <a:gd name="T13" fmla="*/ T12 w 2518"/>
                    <a:gd name="T14" fmla="+- 0 2000 2000"/>
                    <a:gd name="T15" fmla="*/ 2000 h 799"/>
                    <a:gd name="T16" fmla="+- 0 10914 10914"/>
                    <a:gd name="T17" fmla="*/ T16 w 2518"/>
                    <a:gd name="T18" fmla="+- 0 2800 2000"/>
                    <a:gd name="T19" fmla="*/ 2800 h 799"/>
                  </a:gdLst>
                  <a:ahLst/>
                  <a:cxnLst>
                    <a:cxn ang="0">
                      <a:pos x="T1" y="T3"/>
                    </a:cxn>
                    <a:cxn ang="0">
                      <a:pos x="T5" y="T7"/>
                    </a:cxn>
                    <a:cxn ang="0">
                      <a:pos x="T9" y="T11"/>
                    </a:cxn>
                    <a:cxn ang="0">
                      <a:pos x="T13" y="T15"/>
                    </a:cxn>
                    <a:cxn ang="0">
                      <a:pos x="T17" y="T19"/>
                    </a:cxn>
                  </a:cxnLst>
                  <a:rect l="0" t="0" r="r" b="b"/>
                  <a:pathLst>
                    <a:path w="2518" h="799">
                      <a:moveTo>
                        <a:pt x="0" y="800"/>
                      </a:moveTo>
                      <a:lnTo>
                        <a:pt x="2518" y="800"/>
                      </a:lnTo>
                      <a:lnTo>
                        <a:pt x="2518" y="0"/>
                      </a:lnTo>
                      <a:lnTo>
                        <a:pt x="0" y="0"/>
                      </a:lnTo>
                      <a:lnTo>
                        <a:pt x="0" y="800"/>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16" name="Group 19"/>
              <p:cNvGrpSpPr>
                <a:grpSpLocks/>
              </p:cNvGrpSpPr>
              <p:nvPr/>
            </p:nvGrpSpPr>
            <p:grpSpPr bwMode="gray">
              <a:xfrm>
                <a:off x="10914" y="3068"/>
                <a:ext cx="2518" cy="799"/>
                <a:chOff x="10914" y="3068"/>
                <a:chExt cx="2518" cy="799"/>
              </a:xfrm>
            </p:grpSpPr>
            <p:sp>
              <p:nvSpPr>
                <p:cNvPr id="43" name="Freeform 20"/>
                <p:cNvSpPr>
                  <a:spLocks/>
                </p:cNvSpPr>
                <p:nvPr/>
              </p:nvSpPr>
              <p:spPr bwMode="gray">
                <a:xfrm>
                  <a:off x="10914" y="3068"/>
                  <a:ext cx="2518" cy="799"/>
                </a:xfrm>
                <a:custGeom>
                  <a:avLst/>
                  <a:gdLst>
                    <a:gd name="T0" fmla="+- 0 10914 10914"/>
                    <a:gd name="T1" fmla="*/ T0 w 2518"/>
                    <a:gd name="T2" fmla="+- 0 3868 3068"/>
                    <a:gd name="T3" fmla="*/ 3868 h 799"/>
                    <a:gd name="T4" fmla="+- 0 13432 10914"/>
                    <a:gd name="T5" fmla="*/ T4 w 2518"/>
                    <a:gd name="T6" fmla="+- 0 3868 3068"/>
                    <a:gd name="T7" fmla="*/ 3868 h 799"/>
                    <a:gd name="T8" fmla="+- 0 13432 10914"/>
                    <a:gd name="T9" fmla="*/ T8 w 2518"/>
                    <a:gd name="T10" fmla="+- 0 3068 3068"/>
                    <a:gd name="T11" fmla="*/ 3068 h 799"/>
                    <a:gd name="T12" fmla="+- 0 10914 10914"/>
                    <a:gd name="T13" fmla="*/ T12 w 2518"/>
                    <a:gd name="T14" fmla="+- 0 3068 3068"/>
                    <a:gd name="T15" fmla="*/ 3068 h 799"/>
                    <a:gd name="T16" fmla="+- 0 10914 10914"/>
                    <a:gd name="T17" fmla="*/ T16 w 2518"/>
                    <a:gd name="T18" fmla="+- 0 3868 3068"/>
                    <a:gd name="T19" fmla="*/ 3868 h 799"/>
                  </a:gdLst>
                  <a:ahLst/>
                  <a:cxnLst>
                    <a:cxn ang="0">
                      <a:pos x="T1" y="T3"/>
                    </a:cxn>
                    <a:cxn ang="0">
                      <a:pos x="T5" y="T7"/>
                    </a:cxn>
                    <a:cxn ang="0">
                      <a:pos x="T9" y="T11"/>
                    </a:cxn>
                    <a:cxn ang="0">
                      <a:pos x="T13" y="T15"/>
                    </a:cxn>
                    <a:cxn ang="0">
                      <a:pos x="T17" y="T19"/>
                    </a:cxn>
                  </a:cxnLst>
                  <a:rect l="0" t="0" r="r" b="b"/>
                  <a:pathLst>
                    <a:path w="2518" h="799">
                      <a:moveTo>
                        <a:pt x="0" y="800"/>
                      </a:moveTo>
                      <a:lnTo>
                        <a:pt x="2518" y="800"/>
                      </a:lnTo>
                      <a:lnTo>
                        <a:pt x="2518" y="0"/>
                      </a:lnTo>
                      <a:lnTo>
                        <a:pt x="0" y="0"/>
                      </a:lnTo>
                      <a:lnTo>
                        <a:pt x="0" y="80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7" name="Group 21"/>
              <p:cNvGrpSpPr>
                <a:grpSpLocks/>
              </p:cNvGrpSpPr>
              <p:nvPr/>
            </p:nvGrpSpPr>
            <p:grpSpPr bwMode="gray">
              <a:xfrm>
                <a:off x="10914" y="3068"/>
                <a:ext cx="2518" cy="799"/>
                <a:chOff x="10914" y="3068"/>
                <a:chExt cx="2518" cy="799"/>
              </a:xfrm>
            </p:grpSpPr>
            <p:sp>
              <p:nvSpPr>
                <p:cNvPr id="42" name="Freeform 22"/>
                <p:cNvSpPr>
                  <a:spLocks/>
                </p:cNvSpPr>
                <p:nvPr/>
              </p:nvSpPr>
              <p:spPr bwMode="gray">
                <a:xfrm>
                  <a:off x="10914" y="3068"/>
                  <a:ext cx="2518" cy="799"/>
                </a:xfrm>
                <a:custGeom>
                  <a:avLst/>
                  <a:gdLst>
                    <a:gd name="T0" fmla="+- 0 10914 10914"/>
                    <a:gd name="T1" fmla="*/ T0 w 2518"/>
                    <a:gd name="T2" fmla="+- 0 3868 3068"/>
                    <a:gd name="T3" fmla="*/ 3868 h 799"/>
                    <a:gd name="T4" fmla="+- 0 13432 10914"/>
                    <a:gd name="T5" fmla="*/ T4 w 2518"/>
                    <a:gd name="T6" fmla="+- 0 3868 3068"/>
                    <a:gd name="T7" fmla="*/ 3868 h 799"/>
                    <a:gd name="T8" fmla="+- 0 13432 10914"/>
                    <a:gd name="T9" fmla="*/ T8 w 2518"/>
                    <a:gd name="T10" fmla="+- 0 3068 3068"/>
                    <a:gd name="T11" fmla="*/ 3068 h 799"/>
                    <a:gd name="T12" fmla="+- 0 10914 10914"/>
                    <a:gd name="T13" fmla="*/ T12 w 2518"/>
                    <a:gd name="T14" fmla="+- 0 3068 3068"/>
                    <a:gd name="T15" fmla="*/ 3068 h 799"/>
                    <a:gd name="T16" fmla="+- 0 10914 10914"/>
                    <a:gd name="T17" fmla="*/ T16 w 2518"/>
                    <a:gd name="T18" fmla="+- 0 3868 3068"/>
                    <a:gd name="T19" fmla="*/ 3868 h 799"/>
                  </a:gdLst>
                  <a:ahLst/>
                  <a:cxnLst>
                    <a:cxn ang="0">
                      <a:pos x="T1" y="T3"/>
                    </a:cxn>
                    <a:cxn ang="0">
                      <a:pos x="T5" y="T7"/>
                    </a:cxn>
                    <a:cxn ang="0">
                      <a:pos x="T9" y="T11"/>
                    </a:cxn>
                    <a:cxn ang="0">
                      <a:pos x="T13" y="T15"/>
                    </a:cxn>
                    <a:cxn ang="0">
                      <a:pos x="T17" y="T19"/>
                    </a:cxn>
                  </a:cxnLst>
                  <a:rect l="0" t="0" r="r" b="b"/>
                  <a:pathLst>
                    <a:path w="2518" h="799">
                      <a:moveTo>
                        <a:pt x="0" y="800"/>
                      </a:moveTo>
                      <a:lnTo>
                        <a:pt x="2518" y="800"/>
                      </a:lnTo>
                      <a:lnTo>
                        <a:pt x="2518" y="0"/>
                      </a:lnTo>
                      <a:lnTo>
                        <a:pt x="0" y="0"/>
                      </a:lnTo>
                      <a:lnTo>
                        <a:pt x="0" y="800"/>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18" name="Group 23"/>
              <p:cNvGrpSpPr>
                <a:grpSpLocks/>
              </p:cNvGrpSpPr>
              <p:nvPr/>
            </p:nvGrpSpPr>
            <p:grpSpPr bwMode="gray">
              <a:xfrm>
                <a:off x="10914" y="4139"/>
                <a:ext cx="2518" cy="799"/>
                <a:chOff x="10914" y="4139"/>
                <a:chExt cx="2518" cy="799"/>
              </a:xfrm>
            </p:grpSpPr>
            <p:sp>
              <p:nvSpPr>
                <p:cNvPr id="41" name="Freeform 24"/>
                <p:cNvSpPr>
                  <a:spLocks/>
                </p:cNvSpPr>
                <p:nvPr/>
              </p:nvSpPr>
              <p:spPr bwMode="gray">
                <a:xfrm>
                  <a:off x="10914" y="4139"/>
                  <a:ext cx="2518" cy="799"/>
                </a:xfrm>
                <a:custGeom>
                  <a:avLst/>
                  <a:gdLst>
                    <a:gd name="T0" fmla="+- 0 10914 10914"/>
                    <a:gd name="T1" fmla="*/ T0 w 2518"/>
                    <a:gd name="T2" fmla="+- 0 4938 4139"/>
                    <a:gd name="T3" fmla="*/ 4938 h 799"/>
                    <a:gd name="T4" fmla="+- 0 13432 10914"/>
                    <a:gd name="T5" fmla="*/ T4 w 2518"/>
                    <a:gd name="T6" fmla="+- 0 4938 4139"/>
                    <a:gd name="T7" fmla="*/ 4938 h 799"/>
                    <a:gd name="T8" fmla="+- 0 13432 10914"/>
                    <a:gd name="T9" fmla="*/ T8 w 2518"/>
                    <a:gd name="T10" fmla="+- 0 4139 4139"/>
                    <a:gd name="T11" fmla="*/ 4139 h 799"/>
                    <a:gd name="T12" fmla="+- 0 10914 10914"/>
                    <a:gd name="T13" fmla="*/ T12 w 2518"/>
                    <a:gd name="T14" fmla="+- 0 4139 4139"/>
                    <a:gd name="T15" fmla="*/ 4139 h 799"/>
                    <a:gd name="T16" fmla="+- 0 10914 10914"/>
                    <a:gd name="T17" fmla="*/ T16 w 2518"/>
                    <a:gd name="T18" fmla="+- 0 4938 4139"/>
                    <a:gd name="T19" fmla="*/ 4938 h 799"/>
                  </a:gdLst>
                  <a:ahLst/>
                  <a:cxnLst>
                    <a:cxn ang="0">
                      <a:pos x="T1" y="T3"/>
                    </a:cxn>
                    <a:cxn ang="0">
                      <a:pos x="T5" y="T7"/>
                    </a:cxn>
                    <a:cxn ang="0">
                      <a:pos x="T9" y="T11"/>
                    </a:cxn>
                    <a:cxn ang="0">
                      <a:pos x="T13" y="T15"/>
                    </a:cxn>
                    <a:cxn ang="0">
                      <a:pos x="T17" y="T19"/>
                    </a:cxn>
                  </a:cxnLst>
                  <a:rect l="0" t="0" r="r" b="b"/>
                  <a:pathLst>
                    <a:path w="2518" h="799">
                      <a:moveTo>
                        <a:pt x="0" y="799"/>
                      </a:moveTo>
                      <a:lnTo>
                        <a:pt x="2518" y="799"/>
                      </a:lnTo>
                      <a:lnTo>
                        <a:pt x="2518"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9" name="Group 25"/>
              <p:cNvGrpSpPr>
                <a:grpSpLocks/>
              </p:cNvGrpSpPr>
              <p:nvPr/>
            </p:nvGrpSpPr>
            <p:grpSpPr bwMode="gray">
              <a:xfrm>
                <a:off x="10914" y="4139"/>
                <a:ext cx="2518" cy="799"/>
                <a:chOff x="10914" y="4139"/>
                <a:chExt cx="2518" cy="799"/>
              </a:xfrm>
            </p:grpSpPr>
            <p:sp>
              <p:nvSpPr>
                <p:cNvPr id="40" name="Freeform 26"/>
                <p:cNvSpPr>
                  <a:spLocks/>
                </p:cNvSpPr>
                <p:nvPr/>
              </p:nvSpPr>
              <p:spPr bwMode="gray">
                <a:xfrm>
                  <a:off x="10914" y="4139"/>
                  <a:ext cx="2518" cy="799"/>
                </a:xfrm>
                <a:custGeom>
                  <a:avLst/>
                  <a:gdLst>
                    <a:gd name="T0" fmla="+- 0 10914 10914"/>
                    <a:gd name="T1" fmla="*/ T0 w 2518"/>
                    <a:gd name="T2" fmla="+- 0 4938 4139"/>
                    <a:gd name="T3" fmla="*/ 4938 h 799"/>
                    <a:gd name="T4" fmla="+- 0 13432 10914"/>
                    <a:gd name="T5" fmla="*/ T4 w 2518"/>
                    <a:gd name="T6" fmla="+- 0 4938 4139"/>
                    <a:gd name="T7" fmla="*/ 4938 h 799"/>
                    <a:gd name="T8" fmla="+- 0 13432 10914"/>
                    <a:gd name="T9" fmla="*/ T8 w 2518"/>
                    <a:gd name="T10" fmla="+- 0 4139 4139"/>
                    <a:gd name="T11" fmla="*/ 4139 h 799"/>
                    <a:gd name="T12" fmla="+- 0 10914 10914"/>
                    <a:gd name="T13" fmla="*/ T12 w 2518"/>
                    <a:gd name="T14" fmla="+- 0 4139 4139"/>
                    <a:gd name="T15" fmla="*/ 4139 h 799"/>
                    <a:gd name="T16" fmla="+- 0 10914 10914"/>
                    <a:gd name="T17" fmla="*/ T16 w 2518"/>
                    <a:gd name="T18" fmla="+- 0 4938 4139"/>
                    <a:gd name="T19" fmla="*/ 4938 h 799"/>
                  </a:gdLst>
                  <a:ahLst/>
                  <a:cxnLst>
                    <a:cxn ang="0">
                      <a:pos x="T1" y="T3"/>
                    </a:cxn>
                    <a:cxn ang="0">
                      <a:pos x="T5" y="T7"/>
                    </a:cxn>
                    <a:cxn ang="0">
                      <a:pos x="T9" y="T11"/>
                    </a:cxn>
                    <a:cxn ang="0">
                      <a:pos x="T13" y="T15"/>
                    </a:cxn>
                    <a:cxn ang="0">
                      <a:pos x="T17" y="T19"/>
                    </a:cxn>
                  </a:cxnLst>
                  <a:rect l="0" t="0" r="r" b="b"/>
                  <a:pathLst>
                    <a:path w="2518" h="799">
                      <a:moveTo>
                        <a:pt x="0" y="799"/>
                      </a:moveTo>
                      <a:lnTo>
                        <a:pt x="2518" y="799"/>
                      </a:lnTo>
                      <a:lnTo>
                        <a:pt x="2518"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20" name="Group 27"/>
              <p:cNvGrpSpPr>
                <a:grpSpLocks/>
              </p:cNvGrpSpPr>
              <p:nvPr/>
            </p:nvGrpSpPr>
            <p:grpSpPr bwMode="gray">
              <a:xfrm>
                <a:off x="10914" y="5291"/>
                <a:ext cx="2518" cy="799"/>
                <a:chOff x="10914" y="5291"/>
                <a:chExt cx="2518" cy="799"/>
              </a:xfrm>
            </p:grpSpPr>
            <p:sp>
              <p:nvSpPr>
                <p:cNvPr id="39" name="Freeform 28"/>
                <p:cNvSpPr>
                  <a:spLocks/>
                </p:cNvSpPr>
                <p:nvPr/>
              </p:nvSpPr>
              <p:spPr bwMode="gray">
                <a:xfrm>
                  <a:off x="10914" y="5291"/>
                  <a:ext cx="2518" cy="799"/>
                </a:xfrm>
                <a:custGeom>
                  <a:avLst/>
                  <a:gdLst>
                    <a:gd name="T0" fmla="+- 0 10914 10914"/>
                    <a:gd name="T1" fmla="*/ T0 w 2518"/>
                    <a:gd name="T2" fmla="+- 0 6090 5291"/>
                    <a:gd name="T3" fmla="*/ 6090 h 799"/>
                    <a:gd name="T4" fmla="+- 0 13432 10914"/>
                    <a:gd name="T5" fmla="*/ T4 w 2518"/>
                    <a:gd name="T6" fmla="+- 0 6090 5291"/>
                    <a:gd name="T7" fmla="*/ 6090 h 799"/>
                    <a:gd name="T8" fmla="+- 0 13432 10914"/>
                    <a:gd name="T9" fmla="*/ T8 w 2518"/>
                    <a:gd name="T10" fmla="+- 0 5291 5291"/>
                    <a:gd name="T11" fmla="*/ 5291 h 799"/>
                    <a:gd name="T12" fmla="+- 0 10914 10914"/>
                    <a:gd name="T13" fmla="*/ T12 w 2518"/>
                    <a:gd name="T14" fmla="+- 0 5291 5291"/>
                    <a:gd name="T15" fmla="*/ 5291 h 799"/>
                    <a:gd name="T16" fmla="+- 0 10914 10914"/>
                    <a:gd name="T17" fmla="*/ T16 w 2518"/>
                    <a:gd name="T18" fmla="+- 0 6090 5291"/>
                    <a:gd name="T19" fmla="*/ 6090 h 799"/>
                  </a:gdLst>
                  <a:ahLst/>
                  <a:cxnLst>
                    <a:cxn ang="0">
                      <a:pos x="T1" y="T3"/>
                    </a:cxn>
                    <a:cxn ang="0">
                      <a:pos x="T5" y="T7"/>
                    </a:cxn>
                    <a:cxn ang="0">
                      <a:pos x="T9" y="T11"/>
                    </a:cxn>
                    <a:cxn ang="0">
                      <a:pos x="T13" y="T15"/>
                    </a:cxn>
                    <a:cxn ang="0">
                      <a:pos x="T17" y="T19"/>
                    </a:cxn>
                  </a:cxnLst>
                  <a:rect l="0" t="0" r="r" b="b"/>
                  <a:pathLst>
                    <a:path w="2518" h="799">
                      <a:moveTo>
                        <a:pt x="0" y="799"/>
                      </a:moveTo>
                      <a:lnTo>
                        <a:pt x="2518" y="799"/>
                      </a:lnTo>
                      <a:lnTo>
                        <a:pt x="2518"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21" name="Group 29"/>
              <p:cNvGrpSpPr>
                <a:grpSpLocks/>
              </p:cNvGrpSpPr>
              <p:nvPr/>
            </p:nvGrpSpPr>
            <p:grpSpPr bwMode="gray">
              <a:xfrm>
                <a:off x="10914" y="5291"/>
                <a:ext cx="2518" cy="799"/>
                <a:chOff x="10914" y="5291"/>
                <a:chExt cx="2518" cy="799"/>
              </a:xfrm>
            </p:grpSpPr>
            <p:sp>
              <p:nvSpPr>
                <p:cNvPr id="38" name="Freeform 30"/>
                <p:cNvSpPr>
                  <a:spLocks/>
                </p:cNvSpPr>
                <p:nvPr/>
              </p:nvSpPr>
              <p:spPr bwMode="gray">
                <a:xfrm>
                  <a:off x="10914" y="5291"/>
                  <a:ext cx="2518" cy="799"/>
                </a:xfrm>
                <a:custGeom>
                  <a:avLst/>
                  <a:gdLst>
                    <a:gd name="T0" fmla="+- 0 10914 10914"/>
                    <a:gd name="T1" fmla="*/ T0 w 2518"/>
                    <a:gd name="T2" fmla="+- 0 6090 5291"/>
                    <a:gd name="T3" fmla="*/ 6090 h 799"/>
                    <a:gd name="T4" fmla="+- 0 13432 10914"/>
                    <a:gd name="T5" fmla="*/ T4 w 2518"/>
                    <a:gd name="T6" fmla="+- 0 6090 5291"/>
                    <a:gd name="T7" fmla="*/ 6090 h 799"/>
                    <a:gd name="T8" fmla="+- 0 13432 10914"/>
                    <a:gd name="T9" fmla="*/ T8 w 2518"/>
                    <a:gd name="T10" fmla="+- 0 5291 5291"/>
                    <a:gd name="T11" fmla="*/ 5291 h 799"/>
                    <a:gd name="T12" fmla="+- 0 10914 10914"/>
                    <a:gd name="T13" fmla="*/ T12 w 2518"/>
                    <a:gd name="T14" fmla="+- 0 5291 5291"/>
                    <a:gd name="T15" fmla="*/ 5291 h 799"/>
                    <a:gd name="T16" fmla="+- 0 10914 10914"/>
                    <a:gd name="T17" fmla="*/ T16 w 2518"/>
                    <a:gd name="T18" fmla="+- 0 6090 5291"/>
                    <a:gd name="T19" fmla="*/ 6090 h 799"/>
                  </a:gdLst>
                  <a:ahLst/>
                  <a:cxnLst>
                    <a:cxn ang="0">
                      <a:pos x="T1" y="T3"/>
                    </a:cxn>
                    <a:cxn ang="0">
                      <a:pos x="T5" y="T7"/>
                    </a:cxn>
                    <a:cxn ang="0">
                      <a:pos x="T9" y="T11"/>
                    </a:cxn>
                    <a:cxn ang="0">
                      <a:pos x="T13" y="T15"/>
                    </a:cxn>
                    <a:cxn ang="0">
                      <a:pos x="T17" y="T19"/>
                    </a:cxn>
                  </a:cxnLst>
                  <a:rect l="0" t="0" r="r" b="b"/>
                  <a:pathLst>
                    <a:path w="2518" h="799">
                      <a:moveTo>
                        <a:pt x="0" y="799"/>
                      </a:moveTo>
                      <a:lnTo>
                        <a:pt x="2518" y="799"/>
                      </a:lnTo>
                      <a:lnTo>
                        <a:pt x="2518"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22" name="Group 31"/>
              <p:cNvGrpSpPr>
                <a:grpSpLocks/>
              </p:cNvGrpSpPr>
              <p:nvPr/>
            </p:nvGrpSpPr>
            <p:grpSpPr bwMode="gray">
              <a:xfrm>
                <a:off x="10914" y="6424"/>
                <a:ext cx="2518" cy="799"/>
                <a:chOff x="10914" y="6424"/>
                <a:chExt cx="2518" cy="799"/>
              </a:xfrm>
            </p:grpSpPr>
            <p:sp>
              <p:nvSpPr>
                <p:cNvPr id="37" name="Freeform 32"/>
                <p:cNvSpPr>
                  <a:spLocks/>
                </p:cNvSpPr>
                <p:nvPr/>
              </p:nvSpPr>
              <p:spPr bwMode="gray">
                <a:xfrm>
                  <a:off x="10914" y="6424"/>
                  <a:ext cx="2518" cy="799"/>
                </a:xfrm>
                <a:custGeom>
                  <a:avLst/>
                  <a:gdLst>
                    <a:gd name="T0" fmla="+- 0 10914 10914"/>
                    <a:gd name="T1" fmla="*/ T0 w 2518"/>
                    <a:gd name="T2" fmla="+- 0 7223 6424"/>
                    <a:gd name="T3" fmla="*/ 7223 h 799"/>
                    <a:gd name="T4" fmla="+- 0 13432 10914"/>
                    <a:gd name="T5" fmla="*/ T4 w 2518"/>
                    <a:gd name="T6" fmla="+- 0 7223 6424"/>
                    <a:gd name="T7" fmla="*/ 7223 h 799"/>
                    <a:gd name="T8" fmla="+- 0 13432 10914"/>
                    <a:gd name="T9" fmla="*/ T8 w 2518"/>
                    <a:gd name="T10" fmla="+- 0 6424 6424"/>
                    <a:gd name="T11" fmla="*/ 6424 h 799"/>
                    <a:gd name="T12" fmla="+- 0 10914 10914"/>
                    <a:gd name="T13" fmla="*/ T12 w 2518"/>
                    <a:gd name="T14" fmla="+- 0 6424 6424"/>
                    <a:gd name="T15" fmla="*/ 6424 h 799"/>
                    <a:gd name="T16" fmla="+- 0 10914 10914"/>
                    <a:gd name="T17" fmla="*/ T16 w 2518"/>
                    <a:gd name="T18" fmla="+- 0 7223 6424"/>
                    <a:gd name="T19" fmla="*/ 7223 h 799"/>
                  </a:gdLst>
                  <a:ahLst/>
                  <a:cxnLst>
                    <a:cxn ang="0">
                      <a:pos x="T1" y="T3"/>
                    </a:cxn>
                    <a:cxn ang="0">
                      <a:pos x="T5" y="T7"/>
                    </a:cxn>
                    <a:cxn ang="0">
                      <a:pos x="T9" y="T11"/>
                    </a:cxn>
                    <a:cxn ang="0">
                      <a:pos x="T13" y="T15"/>
                    </a:cxn>
                    <a:cxn ang="0">
                      <a:pos x="T17" y="T19"/>
                    </a:cxn>
                  </a:cxnLst>
                  <a:rect l="0" t="0" r="r" b="b"/>
                  <a:pathLst>
                    <a:path w="2518" h="799">
                      <a:moveTo>
                        <a:pt x="0" y="799"/>
                      </a:moveTo>
                      <a:lnTo>
                        <a:pt x="2518" y="799"/>
                      </a:lnTo>
                      <a:lnTo>
                        <a:pt x="2518"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23" name="Group 33"/>
              <p:cNvGrpSpPr>
                <a:grpSpLocks/>
              </p:cNvGrpSpPr>
              <p:nvPr/>
            </p:nvGrpSpPr>
            <p:grpSpPr bwMode="gray">
              <a:xfrm>
                <a:off x="10914" y="6424"/>
                <a:ext cx="2518" cy="799"/>
                <a:chOff x="10914" y="6424"/>
                <a:chExt cx="2518" cy="799"/>
              </a:xfrm>
            </p:grpSpPr>
            <p:sp>
              <p:nvSpPr>
                <p:cNvPr id="36" name="Freeform 34"/>
                <p:cNvSpPr>
                  <a:spLocks/>
                </p:cNvSpPr>
                <p:nvPr/>
              </p:nvSpPr>
              <p:spPr bwMode="gray">
                <a:xfrm>
                  <a:off x="10914" y="6424"/>
                  <a:ext cx="2518" cy="799"/>
                </a:xfrm>
                <a:custGeom>
                  <a:avLst/>
                  <a:gdLst>
                    <a:gd name="T0" fmla="+- 0 10914 10914"/>
                    <a:gd name="T1" fmla="*/ T0 w 2518"/>
                    <a:gd name="T2" fmla="+- 0 7223 6424"/>
                    <a:gd name="T3" fmla="*/ 7223 h 799"/>
                    <a:gd name="T4" fmla="+- 0 13432 10914"/>
                    <a:gd name="T5" fmla="*/ T4 w 2518"/>
                    <a:gd name="T6" fmla="+- 0 7223 6424"/>
                    <a:gd name="T7" fmla="*/ 7223 h 799"/>
                    <a:gd name="T8" fmla="+- 0 13432 10914"/>
                    <a:gd name="T9" fmla="*/ T8 w 2518"/>
                    <a:gd name="T10" fmla="+- 0 6424 6424"/>
                    <a:gd name="T11" fmla="*/ 6424 h 799"/>
                    <a:gd name="T12" fmla="+- 0 10914 10914"/>
                    <a:gd name="T13" fmla="*/ T12 w 2518"/>
                    <a:gd name="T14" fmla="+- 0 6424 6424"/>
                    <a:gd name="T15" fmla="*/ 6424 h 799"/>
                    <a:gd name="T16" fmla="+- 0 10914 10914"/>
                    <a:gd name="T17" fmla="*/ T16 w 2518"/>
                    <a:gd name="T18" fmla="+- 0 7223 6424"/>
                    <a:gd name="T19" fmla="*/ 7223 h 799"/>
                  </a:gdLst>
                  <a:ahLst/>
                  <a:cxnLst>
                    <a:cxn ang="0">
                      <a:pos x="T1" y="T3"/>
                    </a:cxn>
                    <a:cxn ang="0">
                      <a:pos x="T5" y="T7"/>
                    </a:cxn>
                    <a:cxn ang="0">
                      <a:pos x="T9" y="T11"/>
                    </a:cxn>
                    <a:cxn ang="0">
                      <a:pos x="T13" y="T15"/>
                    </a:cxn>
                    <a:cxn ang="0">
                      <a:pos x="T17" y="T19"/>
                    </a:cxn>
                  </a:cxnLst>
                  <a:rect l="0" t="0" r="r" b="b"/>
                  <a:pathLst>
                    <a:path w="2518" h="799">
                      <a:moveTo>
                        <a:pt x="0" y="799"/>
                      </a:moveTo>
                      <a:lnTo>
                        <a:pt x="2518" y="799"/>
                      </a:lnTo>
                      <a:lnTo>
                        <a:pt x="2518"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24" name="Group 35"/>
              <p:cNvGrpSpPr>
                <a:grpSpLocks/>
              </p:cNvGrpSpPr>
              <p:nvPr/>
            </p:nvGrpSpPr>
            <p:grpSpPr bwMode="gray">
              <a:xfrm>
                <a:off x="10914" y="7484"/>
                <a:ext cx="2518" cy="799"/>
                <a:chOff x="10914" y="7484"/>
                <a:chExt cx="2518" cy="799"/>
              </a:xfrm>
            </p:grpSpPr>
            <p:sp>
              <p:nvSpPr>
                <p:cNvPr id="35" name="Freeform 36"/>
                <p:cNvSpPr>
                  <a:spLocks/>
                </p:cNvSpPr>
                <p:nvPr/>
              </p:nvSpPr>
              <p:spPr bwMode="gray">
                <a:xfrm>
                  <a:off x="10914" y="7484"/>
                  <a:ext cx="2518" cy="799"/>
                </a:xfrm>
                <a:custGeom>
                  <a:avLst/>
                  <a:gdLst>
                    <a:gd name="T0" fmla="+- 0 10914 10914"/>
                    <a:gd name="T1" fmla="*/ T0 w 2518"/>
                    <a:gd name="T2" fmla="+- 0 8284 7484"/>
                    <a:gd name="T3" fmla="*/ 8284 h 799"/>
                    <a:gd name="T4" fmla="+- 0 13432 10914"/>
                    <a:gd name="T5" fmla="*/ T4 w 2518"/>
                    <a:gd name="T6" fmla="+- 0 8284 7484"/>
                    <a:gd name="T7" fmla="*/ 8284 h 799"/>
                    <a:gd name="T8" fmla="+- 0 13432 10914"/>
                    <a:gd name="T9" fmla="*/ T8 w 2518"/>
                    <a:gd name="T10" fmla="+- 0 7484 7484"/>
                    <a:gd name="T11" fmla="*/ 7484 h 799"/>
                    <a:gd name="T12" fmla="+- 0 10914 10914"/>
                    <a:gd name="T13" fmla="*/ T12 w 2518"/>
                    <a:gd name="T14" fmla="+- 0 7484 7484"/>
                    <a:gd name="T15" fmla="*/ 7484 h 799"/>
                    <a:gd name="T16" fmla="+- 0 10914 10914"/>
                    <a:gd name="T17" fmla="*/ T16 w 2518"/>
                    <a:gd name="T18" fmla="+- 0 8284 7484"/>
                    <a:gd name="T19" fmla="*/ 8284 h 799"/>
                  </a:gdLst>
                  <a:ahLst/>
                  <a:cxnLst>
                    <a:cxn ang="0">
                      <a:pos x="T1" y="T3"/>
                    </a:cxn>
                    <a:cxn ang="0">
                      <a:pos x="T5" y="T7"/>
                    </a:cxn>
                    <a:cxn ang="0">
                      <a:pos x="T9" y="T11"/>
                    </a:cxn>
                    <a:cxn ang="0">
                      <a:pos x="T13" y="T15"/>
                    </a:cxn>
                    <a:cxn ang="0">
                      <a:pos x="T17" y="T19"/>
                    </a:cxn>
                  </a:cxnLst>
                  <a:rect l="0" t="0" r="r" b="b"/>
                  <a:pathLst>
                    <a:path w="2518" h="799">
                      <a:moveTo>
                        <a:pt x="0" y="800"/>
                      </a:moveTo>
                      <a:lnTo>
                        <a:pt x="2518" y="800"/>
                      </a:lnTo>
                      <a:lnTo>
                        <a:pt x="2518" y="0"/>
                      </a:lnTo>
                      <a:lnTo>
                        <a:pt x="0" y="0"/>
                      </a:lnTo>
                      <a:lnTo>
                        <a:pt x="0" y="80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25" name="Group 37"/>
              <p:cNvGrpSpPr>
                <a:grpSpLocks/>
              </p:cNvGrpSpPr>
              <p:nvPr/>
            </p:nvGrpSpPr>
            <p:grpSpPr bwMode="gray">
              <a:xfrm>
                <a:off x="10914" y="7484"/>
                <a:ext cx="2518" cy="799"/>
                <a:chOff x="10914" y="7484"/>
                <a:chExt cx="2518" cy="799"/>
              </a:xfrm>
            </p:grpSpPr>
            <p:sp>
              <p:nvSpPr>
                <p:cNvPr id="34" name="Freeform 38"/>
                <p:cNvSpPr>
                  <a:spLocks/>
                </p:cNvSpPr>
                <p:nvPr/>
              </p:nvSpPr>
              <p:spPr bwMode="gray">
                <a:xfrm>
                  <a:off x="10914" y="7484"/>
                  <a:ext cx="2518" cy="799"/>
                </a:xfrm>
                <a:custGeom>
                  <a:avLst/>
                  <a:gdLst>
                    <a:gd name="T0" fmla="+- 0 10914 10914"/>
                    <a:gd name="T1" fmla="*/ T0 w 2518"/>
                    <a:gd name="T2" fmla="+- 0 8284 7484"/>
                    <a:gd name="T3" fmla="*/ 8284 h 799"/>
                    <a:gd name="T4" fmla="+- 0 13432 10914"/>
                    <a:gd name="T5" fmla="*/ T4 w 2518"/>
                    <a:gd name="T6" fmla="+- 0 8284 7484"/>
                    <a:gd name="T7" fmla="*/ 8284 h 799"/>
                    <a:gd name="T8" fmla="+- 0 13432 10914"/>
                    <a:gd name="T9" fmla="*/ T8 w 2518"/>
                    <a:gd name="T10" fmla="+- 0 7484 7484"/>
                    <a:gd name="T11" fmla="*/ 7484 h 799"/>
                    <a:gd name="T12" fmla="+- 0 10914 10914"/>
                    <a:gd name="T13" fmla="*/ T12 w 2518"/>
                    <a:gd name="T14" fmla="+- 0 7484 7484"/>
                    <a:gd name="T15" fmla="*/ 7484 h 799"/>
                    <a:gd name="T16" fmla="+- 0 10914 10914"/>
                    <a:gd name="T17" fmla="*/ T16 w 2518"/>
                    <a:gd name="T18" fmla="+- 0 8284 7484"/>
                    <a:gd name="T19" fmla="*/ 8284 h 799"/>
                  </a:gdLst>
                  <a:ahLst/>
                  <a:cxnLst>
                    <a:cxn ang="0">
                      <a:pos x="T1" y="T3"/>
                    </a:cxn>
                    <a:cxn ang="0">
                      <a:pos x="T5" y="T7"/>
                    </a:cxn>
                    <a:cxn ang="0">
                      <a:pos x="T9" y="T11"/>
                    </a:cxn>
                    <a:cxn ang="0">
                      <a:pos x="T13" y="T15"/>
                    </a:cxn>
                    <a:cxn ang="0">
                      <a:pos x="T17" y="T19"/>
                    </a:cxn>
                  </a:cxnLst>
                  <a:rect l="0" t="0" r="r" b="b"/>
                  <a:pathLst>
                    <a:path w="2518" h="799">
                      <a:moveTo>
                        <a:pt x="0" y="800"/>
                      </a:moveTo>
                      <a:lnTo>
                        <a:pt x="2518" y="800"/>
                      </a:lnTo>
                      <a:lnTo>
                        <a:pt x="2518" y="0"/>
                      </a:lnTo>
                      <a:lnTo>
                        <a:pt x="0" y="0"/>
                      </a:lnTo>
                      <a:lnTo>
                        <a:pt x="0" y="800"/>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26" name="Group 39"/>
              <p:cNvGrpSpPr>
                <a:grpSpLocks/>
              </p:cNvGrpSpPr>
              <p:nvPr/>
            </p:nvGrpSpPr>
            <p:grpSpPr bwMode="gray">
              <a:xfrm>
                <a:off x="10990" y="3230"/>
                <a:ext cx="883" cy="554"/>
                <a:chOff x="10990" y="3230"/>
                <a:chExt cx="883" cy="554"/>
              </a:xfrm>
            </p:grpSpPr>
            <p:sp>
              <p:nvSpPr>
                <p:cNvPr id="33" name="Freeform 40"/>
                <p:cNvSpPr>
                  <a:spLocks/>
                </p:cNvSpPr>
                <p:nvPr/>
              </p:nvSpPr>
              <p:spPr bwMode="gray">
                <a:xfrm>
                  <a:off x="10990" y="3230"/>
                  <a:ext cx="883" cy="554"/>
                </a:xfrm>
                <a:custGeom>
                  <a:avLst/>
                  <a:gdLst>
                    <a:gd name="T0" fmla="+- 0 10990 10990"/>
                    <a:gd name="T1" fmla="*/ T0 w 883"/>
                    <a:gd name="T2" fmla="+- 0 3785 3230"/>
                    <a:gd name="T3" fmla="*/ 3785 h 554"/>
                    <a:gd name="T4" fmla="+- 0 11873 10990"/>
                    <a:gd name="T5" fmla="*/ T4 w 883"/>
                    <a:gd name="T6" fmla="+- 0 3785 3230"/>
                    <a:gd name="T7" fmla="*/ 3785 h 554"/>
                    <a:gd name="T8" fmla="+- 0 11873 10990"/>
                    <a:gd name="T9" fmla="*/ T8 w 883"/>
                    <a:gd name="T10" fmla="+- 0 3230 3230"/>
                    <a:gd name="T11" fmla="*/ 3230 h 554"/>
                    <a:gd name="T12" fmla="+- 0 10990 10990"/>
                    <a:gd name="T13" fmla="*/ T12 w 883"/>
                    <a:gd name="T14" fmla="+- 0 3230 3230"/>
                    <a:gd name="T15" fmla="*/ 3230 h 554"/>
                    <a:gd name="T16" fmla="+- 0 10990 10990"/>
                    <a:gd name="T17" fmla="*/ T16 w 883"/>
                    <a:gd name="T18" fmla="+- 0 3785 3230"/>
                    <a:gd name="T19" fmla="*/ 3785 h 554"/>
                  </a:gdLst>
                  <a:ahLst/>
                  <a:cxnLst>
                    <a:cxn ang="0">
                      <a:pos x="T1" y="T3"/>
                    </a:cxn>
                    <a:cxn ang="0">
                      <a:pos x="T5" y="T7"/>
                    </a:cxn>
                    <a:cxn ang="0">
                      <a:pos x="T9" y="T11"/>
                    </a:cxn>
                    <a:cxn ang="0">
                      <a:pos x="T13" y="T15"/>
                    </a:cxn>
                    <a:cxn ang="0">
                      <a:pos x="T17" y="T19"/>
                    </a:cxn>
                  </a:cxnLst>
                  <a:rect l="0" t="0" r="r" b="b"/>
                  <a:pathLst>
                    <a:path w="883" h="554">
                      <a:moveTo>
                        <a:pt x="0" y="555"/>
                      </a:moveTo>
                      <a:lnTo>
                        <a:pt x="883" y="555"/>
                      </a:lnTo>
                      <a:lnTo>
                        <a:pt x="883" y="0"/>
                      </a:lnTo>
                      <a:lnTo>
                        <a:pt x="0" y="0"/>
                      </a:lnTo>
                      <a:lnTo>
                        <a:pt x="0" y="555"/>
                      </a:lnTo>
                    </a:path>
                  </a:pathLst>
                </a:custGeom>
                <a:solidFill>
                  <a:srgbClr val="779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27" name="Group 41"/>
              <p:cNvGrpSpPr>
                <a:grpSpLocks/>
              </p:cNvGrpSpPr>
              <p:nvPr/>
            </p:nvGrpSpPr>
            <p:grpSpPr bwMode="gray">
              <a:xfrm>
                <a:off x="11874" y="3376"/>
                <a:ext cx="554" cy="322"/>
                <a:chOff x="11874" y="3376"/>
                <a:chExt cx="554" cy="322"/>
              </a:xfrm>
            </p:grpSpPr>
            <p:sp>
              <p:nvSpPr>
                <p:cNvPr id="32" name="Freeform 42"/>
                <p:cNvSpPr>
                  <a:spLocks/>
                </p:cNvSpPr>
                <p:nvPr/>
              </p:nvSpPr>
              <p:spPr bwMode="gray">
                <a:xfrm>
                  <a:off x="11874" y="3376"/>
                  <a:ext cx="554" cy="322"/>
                </a:xfrm>
                <a:custGeom>
                  <a:avLst/>
                  <a:gdLst>
                    <a:gd name="T0" fmla="+- 0 12035 11874"/>
                    <a:gd name="T1" fmla="*/ T0 w 554"/>
                    <a:gd name="T2" fmla="+- 0 3376 3376"/>
                    <a:gd name="T3" fmla="*/ 3376 h 322"/>
                    <a:gd name="T4" fmla="+- 0 11874 11874"/>
                    <a:gd name="T5" fmla="*/ T4 w 554"/>
                    <a:gd name="T6" fmla="+- 0 3536 3376"/>
                    <a:gd name="T7" fmla="*/ 3536 h 322"/>
                    <a:gd name="T8" fmla="+- 0 12035 11874"/>
                    <a:gd name="T9" fmla="*/ T8 w 554"/>
                    <a:gd name="T10" fmla="+- 0 3697 3376"/>
                    <a:gd name="T11" fmla="*/ 3697 h 322"/>
                    <a:gd name="T12" fmla="+- 0 12035 11874"/>
                    <a:gd name="T13" fmla="*/ T12 w 554"/>
                    <a:gd name="T14" fmla="+- 0 3617 3376"/>
                    <a:gd name="T15" fmla="*/ 3617 h 322"/>
                    <a:gd name="T16" fmla="+- 0 12428 11874"/>
                    <a:gd name="T17" fmla="*/ T16 w 554"/>
                    <a:gd name="T18" fmla="+- 0 3617 3376"/>
                    <a:gd name="T19" fmla="*/ 3617 h 322"/>
                    <a:gd name="T20" fmla="+- 0 12428 11874"/>
                    <a:gd name="T21" fmla="*/ T20 w 554"/>
                    <a:gd name="T22" fmla="+- 0 3456 3376"/>
                    <a:gd name="T23" fmla="*/ 3456 h 322"/>
                    <a:gd name="T24" fmla="+- 0 12035 11874"/>
                    <a:gd name="T25" fmla="*/ T24 w 554"/>
                    <a:gd name="T26" fmla="+- 0 3456 3376"/>
                    <a:gd name="T27" fmla="*/ 3456 h 322"/>
                    <a:gd name="T28" fmla="+- 0 12035 11874"/>
                    <a:gd name="T29" fmla="*/ T28 w 554"/>
                    <a:gd name="T30" fmla="+- 0 3376 3376"/>
                    <a:gd name="T31" fmla="*/ 3376 h 322"/>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554" h="322">
                      <a:moveTo>
                        <a:pt x="161" y="0"/>
                      </a:moveTo>
                      <a:lnTo>
                        <a:pt x="0" y="160"/>
                      </a:lnTo>
                      <a:lnTo>
                        <a:pt x="161" y="321"/>
                      </a:lnTo>
                      <a:lnTo>
                        <a:pt x="161" y="241"/>
                      </a:lnTo>
                      <a:lnTo>
                        <a:pt x="554" y="241"/>
                      </a:lnTo>
                      <a:lnTo>
                        <a:pt x="554" y="80"/>
                      </a:lnTo>
                      <a:lnTo>
                        <a:pt x="161" y="80"/>
                      </a:lnTo>
                      <a:lnTo>
                        <a:pt x="161" y="0"/>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28" name="Group 43"/>
              <p:cNvGrpSpPr>
                <a:grpSpLocks/>
              </p:cNvGrpSpPr>
              <p:nvPr/>
            </p:nvGrpSpPr>
            <p:grpSpPr bwMode="gray">
              <a:xfrm>
                <a:off x="11874" y="3376"/>
                <a:ext cx="554" cy="322"/>
                <a:chOff x="11874" y="3376"/>
                <a:chExt cx="554" cy="322"/>
              </a:xfrm>
            </p:grpSpPr>
            <p:sp>
              <p:nvSpPr>
                <p:cNvPr id="31" name="Freeform 44"/>
                <p:cNvSpPr>
                  <a:spLocks/>
                </p:cNvSpPr>
                <p:nvPr/>
              </p:nvSpPr>
              <p:spPr bwMode="gray">
                <a:xfrm>
                  <a:off x="11874" y="3376"/>
                  <a:ext cx="554" cy="322"/>
                </a:xfrm>
                <a:custGeom>
                  <a:avLst/>
                  <a:gdLst>
                    <a:gd name="T0" fmla="+- 0 11874 11874"/>
                    <a:gd name="T1" fmla="*/ T0 w 554"/>
                    <a:gd name="T2" fmla="+- 0 3536 3376"/>
                    <a:gd name="T3" fmla="*/ 3536 h 322"/>
                    <a:gd name="T4" fmla="+- 0 12035 11874"/>
                    <a:gd name="T5" fmla="*/ T4 w 554"/>
                    <a:gd name="T6" fmla="+- 0 3376 3376"/>
                    <a:gd name="T7" fmla="*/ 3376 h 322"/>
                    <a:gd name="T8" fmla="+- 0 12035 11874"/>
                    <a:gd name="T9" fmla="*/ T8 w 554"/>
                    <a:gd name="T10" fmla="+- 0 3456 3376"/>
                    <a:gd name="T11" fmla="*/ 3456 h 322"/>
                    <a:gd name="T12" fmla="+- 0 12428 11874"/>
                    <a:gd name="T13" fmla="*/ T12 w 554"/>
                    <a:gd name="T14" fmla="+- 0 3456 3376"/>
                    <a:gd name="T15" fmla="*/ 3456 h 322"/>
                    <a:gd name="T16" fmla="+- 0 12428 11874"/>
                    <a:gd name="T17" fmla="*/ T16 w 554"/>
                    <a:gd name="T18" fmla="+- 0 3617 3376"/>
                    <a:gd name="T19" fmla="*/ 3617 h 322"/>
                    <a:gd name="T20" fmla="+- 0 12035 11874"/>
                    <a:gd name="T21" fmla="*/ T20 w 554"/>
                    <a:gd name="T22" fmla="+- 0 3617 3376"/>
                    <a:gd name="T23" fmla="*/ 3617 h 322"/>
                    <a:gd name="T24" fmla="+- 0 12035 11874"/>
                    <a:gd name="T25" fmla="*/ T24 w 554"/>
                    <a:gd name="T26" fmla="+- 0 3697 3376"/>
                    <a:gd name="T27" fmla="*/ 3697 h 322"/>
                    <a:gd name="T28" fmla="+- 0 11874 11874"/>
                    <a:gd name="T29" fmla="*/ T28 w 554"/>
                    <a:gd name="T30" fmla="+- 0 3536 3376"/>
                    <a:gd name="T31" fmla="*/ 3536 h 322"/>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554" h="322">
                      <a:moveTo>
                        <a:pt x="0" y="160"/>
                      </a:moveTo>
                      <a:lnTo>
                        <a:pt x="161" y="0"/>
                      </a:lnTo>
                      <a:lnTo>
                        <a:pt x="161" y="80"/>
                      </a:lnTo>
                      <a:lnTo>
                        <a:pt x="554" y="80"/>
                      </a:lnTo>
                      <a:lnTo>
                        <a:pt x="554" y="241"/>
                      </a:lnTo>
                      <a:lnTo>
                        <a:pt x="161" y="241"/>
                      </a:lnTo>
                      <a:lnTo>
                        <a:pt x="161" y="321"/>
                      </a:lnTo>
                      <a:lnTo>
                        <a:pt x="0" y="160"/>
                      </a:lnTo>
                      <a:close/>
                    </a:path>
                  </a:pathLst>
                </a:custGeom>
                <a:noFill/>
                <a:ln w="25908">
                  <a:solidFill>
                    <a:srgbClr val="385D89"/>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29" name="Group 45"/>
              <p:cNvGrpSpPr>
                <a:grpSpLocks/>
              </p:cNvGrpSpPr>
              <p:nvPr/>
            </p:nvGrpSpPr>
            <p:grpSpPr bwMode="gray">
              <a:xfrm>
                <a:off x="12499" y="3204"/>
                <a:ext cx="883" cy="554"/>
                <a:chOff x="12499" y="3204"/>
                <a:chExt cx="883" cy="554"/>
              </a:xfrm>
            </p:grpSpPr>
            <p:sp>
              <p:nvSpPr>
                <p:cNvPr id="30" name="Freeform 46"/>
                <p:cNvSpPr>
                  <a:spLocks/>
                </p:cNvSpPr>
                <p:nvPr/>
              </p:nvSpPr>
              <p:spPr bwMode="gray">
                <a:xfrm>
                  <a:off x="12499" y="3204"/>
                  <a:ext cx="883" cy="554"/>
                </a:xfrm>
                <a:custGeom>
                  <a:avLst/>
                  <a:gdLst>
                    <a:gd name="T0" fmla="+- 0 12499 12499"/>
                    <a:gd name="T1" fmla="*/ T0 w 883"/>
                    <a:gd name="T2" fmla="+- 0 3758 3204"/>
                    <a:gd name="T3" fmla="*/ 3758 h 554"/>
                    <a:gd name="T4" fmla="+- 0 13382 12499"/>
                    <a:gd name="T5" fmla="*/ T4 w 883"/>
                    <a:gd name="T6" fmla="+- 0 3758 3204"/>
                    <a:gd name="T7" fmla="*/ 3758 h 554"/>
                    <a:gd name="T8" fmla="+- 0 13382 12499"/>
                    <a:gd name="T9" fmla="*/ T8 w 883"/>
                    <a:gd name="T10" fmla="+- 0 3204 3204"/>
                    <a:gd name="T11" fmla="*/ 3204 h 554"/>
                    <a:gd name="T12" fmla="+- 0 12499 12499"/>
                    <a:gd name="T13" fmla="*/ T12 w 883"/>
                    <a:gd name="T14" fmla="+- 0 3204 3204"/>
                    <a:gd name="T15" fmla="*/ 3204 h 554"/>
                    <a:gd name="T16" fmla="+- 0 12499 12499"/>
                    <a:gd name="T17" fmla="*/ T16 w 883"/>
                    <a:gd name="T18" fmla="+- 0 3758 3204"/>
                    <a:gd name="T19" fmla="*/ 3758 h 554"/>
                  </a:gdLst>
                  <a:ahLst/>
                  <a:cxnLst>
                    <a:cxn ang="0">
                      <a:pos x="T1" y="T3"/>
                    </a:cxn>
                    <a:cxn ang="0">
                      <a:pos x="T5" y="T7"/>
                    </a:cxn>
                    <a:cxn ang="0">
                      <a:pos x="T9" y="T11"/>
                    </a:cxn>
                    <a:cxn ang="0">
                      <a:pos x="T13" y="T15"/>
                    </a:cxn>
                    <a:cxn ang="0">
                      <a:pos x="T17" y="T19"/>
                    </a:cxn>
                  </a:cxnLst>
                  <a:rect l="0" t="0" r="r" b="b"/>
                  <a:pathLst>
                    <a:path w="883" h="554">
                      <a:moveTo>
                        <a:pt x="0" y="554"/>
                      </a:moveTo>
                      <a:lnTo>
                        <a:pt x="883" y="554"/>
                      </a:lnTo>
                      <a:lnTo>
                        <a:pt x="883" y="0"/>
                      </a:lnTo>
                      <a:lnTo>
                        <a:pt x="0" y="0"/>
                      </a:lnTo>
                      <a:lnTo>
                        <a:pt x="0" y="554"/>
                      </a:lnTo>
                    </a:path>
                  </a:pathLst>
                </a:custGeom>
                <a:solidFill>
                  <a:srgbClr val="CC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grpSp>
          <p:nvGrpSpPr>
            <p:cNvPr id="52" name="Group 47"/>
            <p:cNvGrpSpPr>
              <a:grpSpLocks/>
            </p:cNvGrpSpPr>
            <p:nvPr/>
          </p:nvGrpSpPr>
          <p:grpSpPr bwMode="gray">
            <a:xfrm>
              <a:off x="3949700" y="723900"/>
              <a:ext cx="5194300" cy="6134100"/>
              <a:chOff x="14974" y="-10058"/>
              <a:chExt cx="8182" cy="9660"/>
            </a:xfrm>
          </p:grpSpPr>
          <p:grpSp>
            <p:nvGrpSpPr>
              <p:cNvPr id="53" name="Group 48"/>
              <p:cNvGrpSpPr>
                <a:grpSpLocks/>
              </p:cNvGrpSpPr>
              <p:nvPr/>
            </p:nvGrpSpPr>
            <p:grpSpPr bwMode="gray">
              <a:xfrm>
                <a:off x="14994" y="-10038"/>
                <a:ext cx="3588" cy="9619"/>
                <a:chOff x="14994" y="-10038"/>
                <a:chExt cx="3588" cy="9619"/>
              </a:xfrm>
            </p:grpSpPr>
            <p:sp>
              <p:nvSpPr>
                <p:cNvPr id="141" name="Freeform 49"/>
                <p:cNvSpPr>
                  <a:spLocks/>
                </p:cNvSpPr>
                <p:nvPr/>
              </p:nvSpPr>
              <p:spPr bwMode="gray">
                <a:xfrm>
                  <a:off x="14994" y="-10038"/>
                  <a:ext cx="3588" cy="9619"/>
                </a:xfrm>
                <a:custGeom>
                  <a:avLst/>
                  <a:gdLst>
                    <a:gd name="T0" fmla="+- 0 14994 14994"/>
                    <a:gd name="T1" fmla="*/ T0 w 3588"/>
                    <a:gd name="T2" fmla="+- 0 -419 -10038"/>
                    <a:gd name="T3" fmla="*/ -419 h 9619"/>
                    <a:gd name="T4" fmla="+- 0 18582 14994"/>
                    <a:gd name="T5" fmla="*/ T4 w 3588"/>
                    <a:gd name="T6" fmla="+- 0 -419 -10038"/>
                    <a:gd name="T7" fmla="*/ -419 h 9619"/>
                    <a:gd name="T8" fmla="+- 0 18582 14994"/>
                    <a:gd name="T9" fmla="*/ T8 w 3588"/>
                    <a:gd name="T10" fmla="+- 0 -10038 -10038"/>
                    <a:gd name="T11" fmla="*/ -10038 h 9619"/>
                    <a:gd name="T12" fmla="+- 0 14994 14994"/>
                    <a:gd name="T13" fmla="*/ T12 w 3588"/>
                    <a:gd name="T14" fmla="+- 0 -10038 -10038"/>
                    <a:gd name="T15" fmla="*/ -10038 h 9619"/>
                    <a:gd name="T16" fmla="+- 0 14994 14994"/>
                    <a:gd name="T17" fmla="*/ T16 w 3588"/>
                    <a:gd name="T18" fmla="+- 0 -419 -10038"/>
                    <a:gd name="T19" fmla="*/ -419 h 9619"/>
                  </a:gdLst>
                  <a:ahLst/>
                  <a:cxnLst>
                    <a:cxn ang="0">
                      <a:pos x="T1" y="T3"/>
                    </a:cxn>
                    <a:cxn ang="0">
                      <a:pos x="T5" y="T7"/>
                    </a:cxn>
                    <a:cxn ang="0">
                      <a:pos x="T9" y="T11"/>
                    </a:cxn>
                    <a:cxn ang="0">
                      <a:pos x="T13" y="T15"/>
                    </a:cxn>
                    <a:cxn ang="0">
                      <a:pos x="T17" y="T19"/>
                    </a:cxn>
                  </a:cxnLst>
                  <a:rect l="0" t="0" r="r" b="b"/>
                  <a:pathLst>
                    <a:path w="3588" h="9619">
                      <a:moveTo>
                        <a:pt x="0" y="9619"/>
                      </a:moveTo>
                      <a:lnTo>
                        <a:pt x="3588" y="9619"/>
                      </a:lnTo>
                      <a:lnTo>
                        <a:pt x="3588" y="0"/>
                      </a:lnTo>
                      <a:lnTo>
                        <a:pt x="0" y="0"/>
                      </a:lnTo>
                      <a:lnTo>
                        <a:pt x="0" y="9619"/>
                      </a:ln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54" name="Group 50"/>
              <p:cNvGrpSpPr>
                <a:grpSpLocks/>
              </p:cNvGrpSpPr>
              <p:nvPr/>
            </p:nvGrpSpPr>
            <p:grpSpPr bwMode="gray">
              <a:xfrm>
                <a:off x="14994" y="-10038"/>
                <a:ext cx="3588" cy="9619"/>
                <a:chOff x="14994" y="-10038"/>
                <a:chExt cx="3588" cy="9619"/>
              </a:xfrm>
            </p:grpSpPr>
            <p:sp>
              <p:nvSpPr>
                <p:cNvPr id="140" name="Freeform 51"/>
                <p:cNvSpPr>
                  <a:spLocks/>
                </p:cNvSpPr>
                <p:nvPr/>
              </p:nvSpPr>
              <p:spPr bwMode="gray">
                <a:xfrm>
                  <a:off x="14994" y="-10038"/>
                  <a:ext cx="3588" cy="9619"/>
                </a:xfrm>
                <a:custGeom>
                  <a:avLst/>
                  <a:gdLst>
                    <a:gd name="T0" fmla="+- 0 14994 14994"/>
                    <a:gd name="T1" fmla="*/ T0 w 3588"/>
                    <a:gd name="T2" fmla="+- 0 -419 -10038"/>
                    <a:gd name="T3" fmla="*/ -419 h 9619"/>
                    <a:gd name="T4" fmla="+- 0 18582 14994"/>
                    <a:gd name="T5" fmla="*/ T4 w 3588"/>
                    <a:gd name="T6" fmla="+- 0 -419 -10038"/>
                    <a:gd name="T7" fmla="*/ -419 h 9619"/>
                    <a:gd name="T8" fmla="+- 0 18582 14994"/>
                    <a:gd name="T9" fmla="*/ T8 w 3588"/>
                    <a:gd name="T10" fmla="+- 0 -10038 -10038"/>
                    <a:gd name="T11" fmla="*/ -10038 h 9619"/>
                    <a:gd name="T12" fmla="+- 0 14994 14994"/>
                    <a:gd name="T13" fmla="*/ T12 w 3588"/>
                    <a:gd name="T14" fmla="+- 0 -10038 -10038"/>
                    <a:gd name="T15" fmla="*/ -10038 h 9619"/>
                    <a:gd name="T16" fmla="+- 0 14994 14994"/>
                    <a:gd name="T17" fmla="*/ T16 w 3588"/>
                    <a:gd name="T18" fmla="+- 0 -419 -10038"/>
                    <a:gd name="T19" fmla="*/ -419 h 9619"/>
                  </a:gdLst>
                  <a:ahLst/>
                  <a:cxnLst>
                    <a:cxn ang="0">
                      <a:pos x="T1" y="T3"/>
                    </a:cxn>
                    <a:cxn ang="0">
                      <a:pos x="T5" y="T7"/>
                    </a:cxn>
                    <a:cxn ang="0">
                      <a:pos x="T9" y="T11"/>
                    </a:cxn>
                    <a:cxn ang="0">
                      <a:pos x="T13" y="T15"/>
                    </a:cxn>
                    <a:cxn ang="0">
                      <a:pos x="T17" y="T19"/>
                    </a:cxn>
                  </a:cxnLst>
                  <a:rect l="0" t="0" r="r" b="b"/>
                  <a:pathLst>
                    <a:path w="3588" h="9619">
                      <a:moveTo>
                        <a:pt x="0" y="9619"/>
                      </a:moveTo>
                      <a:lnTo>
                        <a:pt x="3588" y="9619"/>
                      </a:lnTo>
                      <a:lnTo>
                        <a:pt x="3588" y="0"/>
                      </a:lnTo>
                      <a:lnTo>
                        <a:pt x="0" y="0"/>
                      </a:lnTo>
                      <a:lnTo>
                        <a:pt x="0" y="9619"/>
                      </a:lnTo>
                      <a:close/>
                    </a:path>
                  </a:pathLst>
                </a:custGeom>
                <a:noFill/>
                <a:ln w="25908">
                  <a:solidFill>
                    <a:srgbClr val="385D89"/>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55" name="Group 52"/>
              <p:cNvGrpSpPr>
                <a:grpSpLocks/>
              </p:cNvGrpSpPr>
              <p:nvPr/>
            </p:nvGrpSpPr>
            <p:grpSpPr bwMode="gray">
              <a:xfrm>
                <a:off x="15467" y="-9436"/>
                <a:ext cx="2518" cy="799"/>
                <a:chOff x="15467" y="-9436"/>
                <a:chExt cx="2518" cy="799"/>
              </a:xfrm>
            </p:grpSpPr>
            <p:sp>
              <p:nvSpPr>
                <p:cNvPr id="139" name="Freeform 53"/>
                <p:cNvSpPr>
                  <a:spLocks/>
                </p:cNvSpPr>
                <p:nvPr/>
              </p:nvSpPr>
              <p:spPr bwMode="gray">
                <a:xfrm>
                  <a:off x="15467" y="-9436"/>
                  <a:ext cx="2518" cy="799"/>
                </a:xfrm>
                <a:custGeom>
                  <a:avLst/>
                  <a:gdLst>
                    <a:gd name="T0" fmla="+- 0 15467 15467"/>
                    <a:gd name="T1" fmla="*/ T0 w 2518"/>
                    <a:gd name="T2" fmla="+- 0 -8636 -9436"/>
                    <a:gd name="T3" fmla="*/ -8636 h 799"/>
                    <a:gd name="T4" fmla="+- 0 17984 15467"/>
                    <a:gd name="T5" fmla="*/ T4 w 2518"/>
                    <a:gd name="T6" fmla="+- 0 -8636 -9436"/>
                    <a:gd name="T7" fmla="*/ -8636 h 799"/>
                    <a:gd name="T8" fmla="+- 0 17984 15467"/>
                    <a:gd name="T9" fmla="*/ T8 w 2518"/>
                    <a:gd name="T10" fmla="+- 0 -9436 -9436"/>
                    <a:gd name="T11" fmla="*/ -9436 h 799"/>
                    <a:gd name="T12" fmla="+- 0 15467 15467"/>
                    <a:gd name="T13" fmla="*/ T12 w 2518"/>
                    <a:gd name="T14" fmla="+- 0 -9436 -9436"/>
                    <a:gd name="T15" fmla="*/ -9436 h 799"/>
                    <a:gd name="T16" fmla="+- 0 15467 15467"/>
                    <a:gd name="T17" fmla="*/ T16 w 2518"/>
                    <a:gd name="T18" fmla="+- 0 -8636 -9436"/>
                    <a:gd name="T19" fmla="*/ -8636 h 799"/>
                  </a:gdLst>
                  <a:ahLst/>
                  <a:cxnLst>
                    <a:cxn ang="0">
                      <a:pos x="T1" y="T3"/>
                    </a:cxn>
                    <a:cxn ang="0">
                      <a:pos x="T5" y="T7"/>
                    </a:cxn>
                    <a:cxn ang="0">
                      <a:pos x="T9" y="T11"/>
                    </a:cxn>
                    <a:cxn ang="0">
                      <a:pos x="T13" y="T15"/>
                    </a:cxn>
                    <a:cxn ang="0">
                      <a:pos x="T17" y="T19"/>
                    </a:cxn>
                  </a:cxnLst>
                  <a:rect l="0" t="0" r="r" b="b"/>
                  <a:pathLst>
                    <a:path w="2518" h="799">
                      <a:moveTo>
                        <a:pt x="0" y="800"/>
                      </a:moveTo>
                      <a:lnTo>
                        <a:pt x="2517" y="800"/>
                      </a:lnTo>
                      <a:lnTo>
                        <a:pt x="2517" y="0"/>
                      </a:lnTo>
                      <a:lnTo>
                        <a:pt x="0" y="0"/>
                      </a:lnTo>
                      <a:lnTo>
                        <a:pt x="0" y="80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56" name="Group 54"/>
              <p:cNvGrpSpPr>
                <a:grpSpLocks/>
              </p:cNvGrpSpPr>
              <p:nvPr/>
            </p:nvGrpSpPr>
            <p:grpSpPr bwMode="gray">
              <a:xfrm>
                <a:off x="15467" y="-9436"/>
                <a:ext cx="2518" cy="799"/>
                <a:chOff x="15467" y="-9436"/>
                <a:chExt cx="2518" cy="799"/>
              </a:xfrm>
            </p:grpSpPr>
            <p:sp>
              <p:nvSpPr>
                <p:cNvPr id="138" name="Freeform 55"/>
                <p:cNvSpPr>
                  <a:spLocks/>
                </p:cNvSpPr>
                <p:nvPr/>
              </p:nvSpPr>
              <p:spPr bwMode="gray">
                <a:xfrm>
                  <a:off x="15467" y="-9436"/>
                  <a:ext cx="2518" cy="799"/>
                </a:xfrm>
                <a:custGeom>
                  <a:avLst/>
                  <a:gdLst>
                    <a:gd name="T0" fmla="+- 0 15467 15467"/>
                    <a:gd name="T1" fmla="*/ T0 w 2518"/>
                    <a:gd name="T2" fmla="+- 0 -8636 -9436"/>
                    <a:gd name="T3" fmla="*/ -8636 h 799"/>
                    <a:gd name="T4" fmla="+- 0 17984 15467"/>
                    <a:gd name="T5" fmla="*/ T4 w 2518"/>
                    <a:gd name="T6" fmla="+- 0 -8636 -9436"/>
                    <a:gd name="T7" fmla="*/ -8636 h 799"/>
                    <a:gd name="T8" fmla="+- 0 17984 15467"/>
                    <a:gd name="T9" fmla="*/ T8 w 2518"/>
                    <a:gd name="T10" fmla="+- 0 -9436 -9436"/>
                    <a:gd name="T11" fmla="*/ -9436 h 799"/>
                    <a:gd name="T12" fmla="+- 0 15467 15467"/>
                    <a:gd name="T13" fmla="*/ T12 w 2518"/>
                    <a:gd name="T14" fmla="+- 0 -9436 -9436"/>
                    <a:gd name="T15" fmla="*/ -9436 h 799"/>
                    <a:gd name="T16" fmla="+- 0 15467 15467"/>
                    <a:gd name="T17" fmla="*/ T16 w 2518"/>
                    <a:gd name="T18" fmla="+- 0 -8636 -9436"/>
                    <a:gd name="T19" fmla="*/ -8636 h 799"/>
                  </a:gdLst>
                  <a:ahLst/>
                  <a:cxnLst>
                    <a:cxn ang="0">
                      <a:pos x="T1" y="T3"/>
                    </a:cxn>
                    <a:cxn ang="0">
                      <a:pos x="T5" y="T7"/>
                    </a:cxn>
                    <a:cxn ang="0">
                      <a:pos x="T9" y="T11"/>
                    </a:cxn>
                    <a:cxn ang="0">
                      <a:pos x="T13" y="T15"/>
                    </a:cxn>
                    <a:cxn ang="0">
                      <a:pos x="T17" y="T19"/>
                    </a:cxn>
                  </a:cxnLst>
                  <a:rect l="0" t="0" r="r" b="b"/>
                  <a:pathLst>
                    <a:path w="2518" h="799">
                      <a:moveTo>
                        <a:pt x="0" y="800"/>
                      </a:moveTo>
                      <a:lnTo>
                        <a:pt x="2517" y="800"/>
                      </a:lnTo>
                      <a:lnTo>
                        <a:pt x="2517" y="0"/>
                      </a:lnTo>
                      <a:lnTo>
                        <a:pt x="0" y="0"/>
                      </a:lnTo>
                      <a:lnTo>
                        <a:pt x="0" y="800"/>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57" name="Group 56"/>
              <p:cNvGrpSpPr>
                <a:grpSpLocks/>
              </p:cNvGrpSpPr>
              <p:nvPr/>
            </p:nvGrpSpPr>
            <p:grpSpPr bwMode="gray">
              <a:xfrm>
                <a:off x="15467" y="-8365"/>
                <a:ext cx="2518" cy="799"/>
                <a:chOff x="15467" y="-8365"/>
                <a:chExt cx="2518" cy="799"/>
              </a:xfrm>
            </p:grpSpPr>
            <p:sp>
              <p:nvSpPr>
                <p:cNvPr id="137" name="Freeform 57"/>
                <p:cNvSpPr>
                  <a:spLocks/>
                </p:cNvSpPr>
                <p:nvPr/>
              </p:nvSpPr>
              <p:spPr bwMode="gray">
                <a:xfrm>
                  <a:off x="15467" y="-8365"/>
                  <a:ext cx="2518" cy="799"/>
                </a:xfrm>
                <a:custGeom>
                  <a:avLst/>
                  <a:gdLst>
                    <a:gd name="T0" fmla="+- 0 15467 15467"/>
                    <a:gd name="T1" fmla="*/ T0 w 2518"/>
                    <a:gd name="T2" fmla="+- 0 -7566 -8365"/>
                    <a:gd name="T3" fmla="*/ -7566 h 799"/>
                    <a:gd name="T4" fmla="+- 0 17984 15467"/>
                    <a:gd name="T5" fmla="*/ T4 w 2518"/>
                    <a:gd name="T6" fmla="+- 0 -7566 -8365"/>
                    <a:gd name="T7" fmla="*/ -7566 h 799"/>
                    <a:gd name="T8" fmla="+- 0 17984 15467"/>
                    <a:gd name="T9" fmla="*/ T8 w 2518"/>
                    <a:gd name="T10" fmla="+- 0 -8365 -8365"/>
                    <a:gd name="T11" fmla="*/ -8365 h 799"/>
                    <a:gd name="T12" fmla="+- 0 15467 15467"/>
                    <a:gd name="T13" fmla="*/ T12 w 2518"/>
                    <a:gd name="T14" fmla="+- 0 -8365 -8365"/>
                    <a:gd name="T15" fmla="*/ -8365 h 799"/>
                    <a:gd name="T16" fmla="+- 0 15467 15467"/>
                    <a:gd name="T17" fmla="*/ T16 w 2518"/>
                    <a:gd name="T18" fmla="+- 0 -7566 -8365"/>
                    <a:gd name="T19" fmla="*/ -7566 h 799"/>
                  </a:gdLst>
                  <a:ahLst/>
                  <a:cxnLst>
                    <a:cxn ang="0">
                      <a:pos x="T1" y="T3"/>
                    </a:cxn>
                    <a:cxn ang="0">
                      <a:pos x="T5" y="T7"/>
                    </a:cxn>
                    <a:cxn ang="0">
                      <a:pos x="T9" y="T11"/>
                    </a:cxn>
                    <a:cxn ang="0">
                      <a:pos x="T13" y="T15"/>
                    </a:cxn>
                    <a:cxn ang="0">
                      <a:pos x="T17" y="T19"/>
                    </a:cxn>
                  </a:cxnLst>
                  <a:rect l="0" t="0" r="r" b="b"/>
                  <a:pathLst>
                    <a:path w="2518" h="799">
                      <a:moveTo>
                        <a:pt x="0" y="799"/>
                      </a:moveTo>
                      <a:lnTo>
                        <a:pt x="2517" y="799"/>
                      </a:lnTo>
                      <a:lnTo>
                        <a:pt x="2517"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58" name="Group 58"/>
              <p:cNvGrpSpPr>
                <a:grpSpLocks/>
              </p:cNvGrpSpPr>
              <p:nvPr/>
            </p:nvGrpSpPr>
            <p:grpSpPr bwMode="gray">
              <a:xfrm>
                <a:off x="15467" y="-8365"/>
                <a:ext cx="2518" cy="799"/>
                <a:chOff x="15467" y="-8365"/>
                <a:chExt cx="2518" cy="799"/>
              </a:xfrm>
            </p:grpSpPr>
            <p:sp>
              <p:nvSpPr>
                <p:cNvPr id="136" name="Freeform 59"/>
                <p:cNvSpPr>
                  <a:spLocks/>
                </p:cNvSpPr>
                <p:nvPr/>
              </p:nvSpPr>
              <p:spPr bwMode="gray">
                <a:xfrm>
                  <a:off x="15467" y="-8365"/>
                  <a:ext cx="2518" cy="799"/>
                </a:xfrm>
                <a:custGeom>
                  <a:avLst/>
                  <a:gdLst>
                    <a:gd name="T0" fmla="+- 0 15467 15467"/>
                    <a:gd name="T1" fmla="*/ T0 w 2518"/>
                    <a:gd name="T2" fmla="+- 0 -7566 -8365"/>
                    <a:gd name="T3" fmla="*/ -7566 h 799"/>
                    <a:gd name="T4" fmla="+- 0 17984 15467"/>
                    <a:gd name="T5" fmla="*/ T4 w 2518"/>
                    <a:gd name="T6" fmla="+- 0 -7566 -8365"/>
                    <a:gd name="T7" fmla="*/ -7566 h 799"/>
                    <a:gd name="T8" fmla="+- 0 17984 15467"/>
                    <a:gd name="T9" fmla="*/ T8 w 2518"/>
                    <a:gd name="T10" fmla="+- 0 -8365 -8365"/>
                    <a:gd name="T11" fmla="*/ -8365 h 799"/>
                    <a:gd name="T12" fmla="+- 0 15467 15467"/>
                    <a:gd name="T13" fmla="*/ T12 w 2518"/>
                    <a:gd name="T14" fmla="+- 0 -8365 -8365"/>
                    <a:gd name="T15" fmla="*/ -8365 h 799"/>
                    <a:gd name="T16" fmla="+- 0 15467 15467"/>
                    <a:gd name="T17" fmla="*/ T16 w 2518"/>
                    <a:gd name="T18" fmla="+- 0 -7566 -8365"/>
                    <a:gd name="T19" fmla="*/ -7566 h 799"/>
                  </a:gdLst>
                  <a:ahLst/>
                  <a:cxnLst>
                    <a:cxn ang="0">
                      <a:pos x="T1" y="T3"/>
                    </a:cxn>
                    <a:cxn ang="0">
                      <a:pos x="T5" y="T7"/>
                    </a:cxn>
                    <a:cxn ang="0">
                      <a:pos x="T9" y="T11"/>
                    </a:cxn>
                    <a:cxn ang="0">
                      <a:pos x="T13" y="T15"/>
                    </a:cxn>
                    <a:cxn ang="0">
                      <a:pos x="T17" y="T19"/>
                    </a:cxn>
                  </a:cxnLst>
                  <a:rect l="0" t="0" r="r" b="b"/>
                  <a:pathLst>
                    <a:path w="2518" h="799">
                      <a:moveTo>
                        <a:pt x="0" y="799"/>
                      </a:moveTo>
                      <a:lnTo>
                        <a:pt x="2517" y="799"/>
                      </a:lnTo>
                      <a:lnTo>
                        <a:pt x="2517"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59" name="Group 60"/>
              <p:cNvGrpSpPr>
                <a:grpSpLocks/>
              </p:cNvGrpSpPr>
              <p:nvPr/>
            </p:nvGrpSpPr>
            <p:grpSpPr bwMode="gray">
              <a:xfrm>
                <a:off x="15467" y="-7295"/>
                <a:ext cx="2518" cy="799"/>
                <a:chOff x="15467" y="-7295"/>
                <a:chExt cx="2518" cy="799"/>
              </a:xfrm>
            </p:grpSpPr>
            <p:sp>
              <p:nvSpPr>
                <p:cNvPr id="135" name="Freeform 61"/>
                <p:cNvSpPr>
                  <a:spLocks/>
                </p:cNvSpPr>
                <p:nvPr/>
              </p:nvSpPr>
              <p:spPr bwMode="gray">
                <a:xfrm>
                  <a:off x="15467" y="-7295"/>
                  <a:ext cx="2518" cy="799"/>
                </a:xfrm>
                <a:custGeom>
                  <a:avLst/>
                  <a:gdLst>
                    <a:gd name="T0" fmla="+- 0 15467 15467"/>
                    <a:gd name="T1" fmla="*/ T0 w 2518"/>
                    <a:gd name="T2" fmla="+- 0 -6496 -7295"/>
                    <a:gd name="T3" fmla="*/ -6496 h 799"/>
                    <a:gd name="T4" fmla="+- 0 17984 15467"/>
                    <a:gd name="T5" fmla="*/ T4 w 2518"/>
                    <a:gd name="T6" fmla="+- 0 -6496 -7295"/>
                    <a:gd name="T7" fmla="*/ -6496 h 799"/>
                    <a:gd name="T8" fmla="+- 0 17984 15467"/>
                    <a:gd name="T9" fmla="*/ T8 w 2518"/>
                    <a:gd name="T10" fmla="+- 0 -7295 -7295"/>
                    <a:gd name="T11" fmla="*/ -7295 h 799"/>
                    <a:gd name="T12" fmla="+- 0 15467 15467"/>
                    <a:gd name="T13" fmla="*/ T12 w 2518"/>
                    <a:gd name="T14" fmla="+- 0 -7295 -7295"/>
                    <a:gd name="T15" fmla="*/ -7295 h 799"/>
                    <a:gd name="T16" fmla="+- 0 15467 15467"/>
                    <a:gd name="T17" fmla="*/ T16 w 2518"/>
                    <a:gd name="T18" fmla="+- 0 -6496 -7295"/>
                    <a:gd name="T19" fmla="*/ -6496 h 799"/>
                  </a:gdLst>
                  <a:ahLst/>
                  <a:cxnLst>
                    <a:cxn ang="0">
                      <a:pos x="T1" y="T3"/>
                    </a:cxn>
                    <a:cxn ang="0">
                      <a:pos x="T5" y="T7"/>
                    </a:cxn>
                    <a:cxn ang="0">
                      <a:pos x="T9" y="T11"/>
                    </a:cxn>
                    <a:cxn ang="0">
                      <a:pos x="T13" y="T15"/>
                    </a:cxn>
                    <a:cxn ang="0">
                      <a:pos x="T17" y="T19"/>
                    </a:cxn>
                  </a:cxnLst>
                  <a:rect l="0" t="0" r="r" b="b"/>
                  <a:pathLst>
                    <a:path w="2518" h="799">
                      <a:moveTo>
                        <a:pt x="0" y="799"/>
                      </a:moveTo>
                      <a:lnTo>
                        <a:pt x="2517" y="799"/>
                      </a:lnTo>
                      <a:lnTo>
                        <a:pt x="2517"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60" name="Group 62"/>
              <p:cNvGrpSpPr>
                <a:grpSpLocks/>
              </p:cNvGrpSpPr>
              <p:nvPr/>
            </p:nvGrpSpPr>
            <p:grpSpPr bwMode="gray">
              <a:xfrm>
                <a:off x="15467" y="-7295"/>
                <a:ext cx="2518" cy="799"/>
                <a:chOff x="15467" y="-7295"/>
                <a:chExt cx="2518" cy="799"/>
              </a:xfrm>
            </p:grpSpPr>
            <p:sp>
              <p:nvSpPr>
                <p:cNvPr id="134" name="Freeform 63"/>
                <p:cNvSpPr>
                  <a:spLocks/>
                </p:cNvSpPr>
                <p:nvPr/>
              </p:nvSpPr>
              <p:spPr bwMode="gray">
                <a:xfrm>
                  <a:off x="15467" y="-7295"/>
                  <a:ext cx="2518" cy="799"/>
                </a:xfrm>
                <a:custGeom>
                  <a:avLst/>
                  <a:gdLst>
                    <a:gd name="T0" fmla="+- 0 15467 15467"/>
                    <a:gd name="T1" fmla="*/ T0 w 2518"/>
                    <a:gd name="T2" fmla="+- 0 -6496 -7295"/>
                    <a:gd name="T3" fmla="*/ -6496 h 799"/>
                    <a:gd name="T4" fmla="+- 0 17984 15467"/>
                    <a:gd name="T5" fmla="*/ T4 w 2518"/>
                    <a:gd name="T6" fmla="+- 0 -6496 -7295"/>
                    <a:gd name="T7" fmla="*/ -6496 h 799"/>
                    <a:gd name="T8" fmla="+- 0 17984 15467"/>
                    <a:gd name="T9" fmla="*/ T8 w 2518"/>
                    <a:gd name="T10" fmla="+- 0 -7295 -7295"/>
                    <a:gd name="T11" fmla="*/ -7295 h 799"/>
                    <a:gd name="T12" fmla="+- 0 15467 15467"/>
                    <a:gd name="T13" fmla="*/ T12 w 2518"/>
                    <a:gd name="T14" fmla="+- 0 -7295 -7295"/>
                    <a:gd name="T15" fmla="*/ -7295 h 799"/>
                    <a:gd name="T16" fmla="+- 0 15467 15467"/>
                    <a:gd name="T17" fmla="*/ T16 w 2518"/>
                    <a:gd name="T18" fmla="+- 0 -6496 -7295"/>
                    <a:gd name="T19" fmla="*/ -6496 h 799"/>
                  </a:gdLst>
                  <a:ahLst/>
                  <a:cxnLst>
                    <a:cxn ang="0">
                      <a:pos x="T1" y="T3"/>
                    </a:cxn>
                    <a:cxn ang="0">
                      <a:pos x="T5" y="T7"/>
                    </a:cxn>
                    <a:cxn ang="0">
                      <a:pos x="T9" y="T11"/>
                    </a:cxn>
                    <a:cxn ang="0">
                      <a:pos x="T13" y="T15"/>
                    </a:cxn>
                    <a:cxn ang="0">
                      <a:pos x="T17" y="T19"/>
                    </a:cxn>
                  </a:cxnLst>
                  <a:rect l="0" t="0" r="r" b="b"/>
                  <a:pathLst>
                    <a:path w="2518" h="799">
                      <a:moveTo>
                        <a:pt x="0" y="799"/>
                      </a:moveTo>
                      <a:lnTo>
                        <a:pt x="2517" y="799"/>
                      </a:lnTo>
                      <a:lnTo>
                        <a:pt x="2517"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61" name="Group 64"/>
              <p:cNvGrpSpPr>
                <a:grpSpLocks/>
              </p:cNvGrpSpPr>
              <p:nvPr/>
            </p:nvGrpSpPr>
            <p:grpSpPr bwMode="gray">
              <a:xfrm>
                <a:off x="15467" y="-6227"/>
                <a:ext cx="2518" cy="799"/>
                <a:chOff x="15467" y="-6227"/>
                <a:chExt cx="2518" cy="799"/>
              </a:xfrm>
            </p:grpSpPr>
            <p:sp>
              <p:nvSpPr>
                <p:cNvPr id="133" name="Freeform 65"/>
                <p:cNvSpPr>
                  <a:spLocks/>
                </p:cNvSpPr>
                <p:nvPr/>
              </p:nvSpPr>
              <p:spPr bwMode="gray">
                <a:xfrm>
                  <a:off x="15467" y="-6227"/>
                  <a:ext cx="2518" cy="799"/>
                </a:xfrm>
                <a:custGeom>
                  <a:avLst/>
                  <a:gdLst>
                    <a:gd name="T0" fmla="+- 0 15467 15467"/>
                    <a:gd name="T1" fmla="*/ T0 w 2518"/>
                    <a:gd name="T2" fmla="+- 0 -5428 -6227"/>
                    <a:gd name="T3" fmla="*/ -5428 h 799"/>
                    <a:gd name="T4" fmla="+- 0 17984 15467"/>
                    <a:gd name="T5" fmla="*/ T4 w 2518"/>
                    <a:gd name="T6" fmla="+- 0 -5428 -6227"/>
                    <a:gd name="T7" fmla="*/ -5428 h 799"/>
                    <a:gd name="T8" fmla="+- 0 17984 15467"/>
                    <a:gd name="T9" fmla="*/ T8 w 2518"/>
                    <a:gd name="T10" fmla="+- 0 -6227 -6227"/>
                    <a:gd name="T11" fmla="*/ -6227 h 799"/>
                    <a:gd name="T12" fmla="+- 0 15467 15467"/>
                    <a:gd name="T13" fmla="*/ T12 w 2518"/>
                    <a:gd name="T14" fmla="+- 0 -6227 -6227"/>
                    <a:gd name="T15" fmla="*/ -6227 h 799"/>
                    <a:gd name="T16" fmla="+- 0 15467 15467"/>
                    <a:gd name="T17" fmla="*/ T16 w 2518"/>
                    <a:gd name="T18" fmla="+- 0 -5428 -6227"/>
                    <a:gd name="T19" fmla="*/ -5428 h 799"/>
                  </a:gdLst>
                  <a:ahLst/>
                  <a:cxnLst>
                    <a:cxn ang="0">
                      <a:pos x="T1" y="T3"/>
                    </a:cxn>
                    <a:cxn ang="0">
                      <a:pos x="T5" y="T7"/>
                    </a:cxn>
                    <a:cxn ang="0">
                      <a:pos x="T9" y="T11"/>
                    </a:cxn>
                    <a:cxn ang="0">
                      <a:pos x="T13" y="T15"/>
                    </a:cxn>
                    <a:cxn ang="0">
                      <a:pos x="T17" y="T19"/>
                    </a:cxn>
                  </a:cxnLst>
                  <a:rect l="0" t="0" r="r" b="b"/>
                  <a:pathLst>
                    <a:path w="2518" h="799">
                      <a:moveTo>
                        <a:pt x="0" y="799"/>
                      </a:moveTo>
                      <a:lnTo>
                        <a:pt x="2517" y="799"/>
                      </a:lnTo>
                      <a:lnTo>
                        <a:pt x="2517"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62" name="Group 66"/>
              <p:cNvGrpSpPr>
                <a:grpSpLocks/>
              </p:cNvGrpSpPr>
              <p:nvPr/>
            </p:nvGrpSpPr>
            <p:grpSpPr bwMode="gray">
              <a:xfrm>
                <a:off x="15467" y="-6227"/>
                <a:ext cx="2518" cy="799"/>
                <a:chOff x="15467" y="-6227"/>
                <a:chExt cx="2518" cy="799"/>
              </a:xfrm>
            </p:grpSpPr>
            <p:sp>
              <p:nvSpPr>
                <p:cNvPr id="132" name="Freeform 67"/>
                <p:cNvSpPr>
                  <a:spLocks/>
                </p:cNvSpPr>
                <p:nvPr/>
              </p:nvSpPr>
              <p:spPr bwMode="gray">
                <a:xfrm>
                  <a:off x="15467" y="-6227"/>
                  <a:ext cx="2518" cy="799"/>
                </a:xfrm>
                <a:custGeom>
                  <a:avLst/>
                  <a:gdLst>
                    <a:gd name="T0" fmla="+- 0 15467 15467"/>
                    <a:gd name="T1" fmla="*/ T0 w 2518"/>
                    <a:gd name="T2" fmla="+- 0 -5428 -6227"/>
                    <a:gd name="T3" fmla="*/ -5428 h 799"/>
                    <a:gd name="T4" fmla="+- 0 17984 15467"/>
                    <a:gd name="T5" fmla="*/ T4 w 2518"/>
                    <a:gd name="T6" fmla="+- 0 -5428 -6227"/>
                    <a:gd name="T7" fmla="*/ -5428 h 799"/>
                    <a:gd name="T8" fmla="+- 0 17984 15467"/>
                    <a:gd name="T9" fmla="*/ T8 w 2518"/>
                    <a:gd name="T10" fmla="+- 0 -6227 -6227"/>
                    <a:gd name="T11" fmla="*/ -6227 h 799"/>
                    <a:gd name="T12" fmla="+- 0 15467 15467"/>
                    <a:gd name="T13" fmla="*/ T12 w 2518"/>
                    <a:gd name="T14" fmla="+- 0 -6227 -6227"/>
                    <a:gd name="T15" fmla="*/ -6227 h 799"/>
                    <a:gd name="T16" fmla="+- 0 15467 15467"/>
                    <a:gd name="T17" fmla="*/ T16 w 2518"/>
                    <a:gd name="T18" fmla="+- 0 -5428 -6227"/>
                    <a:gd name="T19" fmla="*/ -5428 h 799"/>
                  </a:gdLst>
                  <a:ahLst/>
                  <a:cxnLst>
                    <a:cxn ang="0">
                      <a:pos x="T1" y="T3"/>
                    </a:cxn>
                    <a:cxn ang="0">
                      <a:pos x="T5" y="T7"/>
                    </a:cxn>
                    <a:cxn ang="0">
                      <a:pos x="T9" y="T11"/>
                    </a:cxn>
                    <a:cxn ang="0">
                      <a:pos x="T13" y="T15"/>
                    </a:cxn>
                    <a:cxn ang="0">
                      <a:pos x="T17" y="T19"/>
                    </a:cxn>
                  </a:cxnLst>
                  <a:rect l="0" t="0" r="r" b="b"/>
                  <a:pathLst>
                    <a:path w="2518" h="799">
                      <a:moveTo>
                        <a:pt x="0" y="799"/>
                      </a:moveTo>
                      <a:lnTo>
                        <a:pt x="2517" y="799"/>
                      </a:lnTo>
                      <a:lnTo>
                        <a:pt x="2517"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63" name="Group 68"/>
              <p:cNvGrpSpPr>
                <a:grpSpLocks/>
              </p:cNvGrpSpPr>
              <p:nvPr/>
            </p:nvGrpSpPr>
            <p:grpSpPr bwMode="gray">
              <a:xfrm>
                <a:off x="15467" y="-5156"/>
                <a:ext cx="2518" cy="799"/>
                <a:chOff x="15467" y="-5156"/>
                <a:chExt cx="2518" cy="799"/>
              </a:xfrm>
            </p:grpSpPr>
            <p:sp>
              <p:nvSpPr>
                <p:cNvPr id="131" name="Freeform 69"/>
                <p:cNvSpPr>
                  <a:spLocks/>
                </p:cNvSpPr>
                <p:nvPr/>
              </p:nvSpPr>
              <p:spPr bwMode="gray">
                <a:xfrm>
                  <a:off x="15467" y="-5156"/>
                  <a:ext cx="2518" cy="799"/>
                </a:xfrm>
                <a:custGeom>
                  <a:avLst/>
                  <a:gdLst>
                    <a:gd name="T0" fmla="+- 0 15467 15467"/>
                    <a:gd name="T1" fmla="*/ T0 w 2518"/>
                    <a:gd name="T2" fmla="+- 0 -4357 -5156"/>
                    <a:gd name="T3" fmla="*/ -4357 h 799"/>
                    <a:gd name="T4" fmla="+- 0 17984 15467"/>
                    <a:gd name="T5" fmla="*/ T4 w 2518"/>
                    <a:gd name="T6" fmla="+- 0 -4357 -5156"/>
                    <a:gd name="T7" fmla="*/ -4357 h 799"/>
                    <a:gd name="T8" fmla="+- 0 17984 15467"/>
                    <a:gd name="T9" fmla="*/ T8 w 2518"/>
                    <a:gd name="T10" fmla="+- 0 -5156 -5156"/>
                    <a:gd name="T11" fmla="*/ -5156 h 799"/>
                    <a:gd name="T12" fmla="+- 0 15467 15467"/>
                    <a:gd name="T13" fmla="*/ T12 w 2518"/>
                    <a:gd name="T14" fmla="+- 0 -5156 -5156"/>
                    <a:gd name="T15" fmla="*/ -5156 h 799"/>
                    <a:gd name="T16" fmla="+- 0 15467 15467"/>
                    <a:gd name="T17" fmla="*/ T16 w 2518"/>
                    <a:gd name="T18" fmla="+- 0 -4357 -5156"/>
                    <a:gd name="T19" fmla="*/ -4357 h 799"/>
                  </a:gdLst>
                  <a:ahLst/>
                  <a:cxnLst>
                    <a:cxn ang="0">
                      <a:pos x="T1" y="T3"/>
                    </a:cxn>
                    <a:cxn ang="0">
                      <a:pos x="T5" y="T7"/>
                    </a:cxn>
                    <a:cxn ang="0">
                      <a:pos x="T9" y="T11"/>
                    </a:cxn>
                    <a:cxn ang="0">
                      <a:pos x="T13" y="T15"/>
                    </a:cxn>
                    <a:cxn ang="0">
                      <a:pos x="T17" y="T19"/>
                    </a:cxn>
                  </a:cxnLst>
                  <a:rect l="0" t="0" r="r" b="b"/>
                  <a:pathLst>
                    <a:path w="2518" h="799">
                      <a:moveTo>
                        <a:pt x="0" y="799"/>
                      </a:moveTo>
                      <a:lnTo>
                        <a:pt x="2517" y="799"/>
                      </a:lnTo>
                      <a:lnTo>
                        <a:pt x="2517"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64" name="Group 70"/>
              <p:cNvGrpSpPr>
                <a:grpSpLocks/>
              </p:cNvGrpSpPr>
              <p:nvPr/>
            </p:nvGrpSpPr>
            <p:grpSpPr bwMode="gray">
              <a:xfrm>
                <a:off x="15467" y="-5156"/>
                <a:ext cx="2518" cy="799"/>
                <a:chOff x="15467" y="-5156"/>
                <a:chExt cx="2518" cy="799"/>
              </a:xfrm>
            </p:grpSpPr>
            <p:sp>
              <p:nvSpPr>
                <p:cNvPr id="130" name="Freeform 71"/>
                <p:cNvSpPr>
                  <a:spLocks/>
                </p:cNvSpPr>
                <p:nvPr/>
              </p:nvSpPr>
              <p:spPr bwMode="gray">
                <a:xfrm>
                  <a:off x="15467" y="-5156"/>
                  <a:ext cx="2518" cy="799"/>
                </a:xfrm>
                <a:custGeom>
                  <a:avLst/>
                  <a:gdLst>
                    <a:gd name="T0" fmla="+- 0 15467 15467"/>
                    <a:gd name="T1" fmla="*/ T0 w 2518"/>
                    <a:gd name="T2" fmla="+- 0 -4357 -5156"/>
                    <a:gd name="T3" fmla="*/ -4357 h 799"/>
                    <a:gd name="T4" fmla="+- 0 17984 15467"/>
                    <a:gd name="T5" fmla="*/ T4 w 2518"/>
                    <a:gd name="T6" fmla="+- 0 -4357 -5156"/>
                    <a:gd name="T7" fmla="*/ -4357 h 799"/>
                    <a:gd name="T8" fmla="+- 0 17984 15467"/>
                    <a:gd name="T9" fmla="*/ T8 w 2518"/>
                    <a:gd name="T10" fmla="+- 0 -5156 -5156"/>
                    <a:gd name="T11" fmla="*/ -5156 h 799"/>
                    <a:gd name="T12" fmla="+- 0 15467 15467"/>
                    <a:gd name="T13" fmla="*/ T12 w 2518"/>
                    <a:gd name="T14" fmla="+- 0 -5156 -5156"/>
                    <a:gd name="T15" fmla="*/ -5156 h 799"/>
                    <a:gd name="T16" fmla="+- 0 15467 15467"/>
                    <a:gd name="T17" fmla="*/ T16 w 2518"/>
                    <a:gd name="T18" fmla="+- 0 -4357 -5156"/>
                    <a:gd name="T19" fmla="*/ -4357 h 799"/>
                  </a:gdLst>
                  <a:ahLst/>
                  <a:cxnLst>
                    <a:cxn ang="0">
                      <a:pos x="T1" y="T3"/>
                    </a:cxn>
                    <a:cxn ang="0">
                      <a:pos x="T5" y="T7"/>
                    </a:cxn>
                    <a:cxn ang="0">
                      <a:pos x="T9" y="T11"/>
                    </a:cxn>
                    <a:cxn ang="0">
                      <a:pos x="T13" y="T15"/>
                    </a:cxn>
                    <a:cxn ang="0">
                      <a:pos x="T17" y="T19"/>
                    </a:cxn>
                  </a:cxnLst>
                  <a:rect l="0" t="0" r="r" b="b"/>
                  <a:pathLst>
                    <a:path w="2518" h="799">
                      <a:moveTo>
                        <a:pt x="0" y="799"/>
                      </a:moveTo>
                      <a:lnTo>
                        <a:pt x="2517" y="799"/>
                      </a:lnTo>
                      <a:lnTo>
                        <a:pt x="2517"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65" name="Group 72"/>
              <p:cNvGrpSpPr>
                <a:grpSpLocks/>
              </p:cNvGrpSpPr>
              <p:nvPr/>
            </p:nvGrpSpPr>
            <p:grpSpPr bwMode="gray">
              <a:xfrm>
                <a:off x="15467" y="-4004"/>
                <a:ext cx="2518" cy="799"/>
                <a:chOff x="15467" y="-4004"/>
                <a:chExt cx="2518" cy="799"/>
              </a:xfrm>
            </p:grpSpPr>
            <p:sp>
              <p:nvSpPr>
                <p:cNvPr id="129" name="Freeform 73"/>
                <p:cNvSpPr>
                  <a:spLocks/>
                </p:cNvSpPr>
                <p:nvPr/>
              </p:nvSpPr>
              <p:spPr bwMode="gray">
                <a:xfrm>
                  <a:off x="15467" y="-4004"/>
                  <a:ext cx="2518" cy="799"/>
                </a:xfrm>
                <a:custGeom>
                  <a:avLst/>
                  <a:gdLst>
                    <a:gd name="T0" fmla="+- 0 15467 15467"/>
                    <a:gd name="T1" fmla="*/ T0 w 2518"/>
                    <a:gd name="T2" fmla="+- 0 -3205 -4004"/>
                    <a:gd name="T3" fmla="*/ -3205 h 799"/>
                    <a:gd name="T4" fmla="+- 0 17984 15467"/>
                    <a:gd name="T5" fmla="*/ T4 w 2518"/>
                    <a:gd name="T6" fmla="+- 0 -3205 -4004"/>
                    <a:gd name="T7" fmla="*/ -3205 h 799"/>
                    <a:gd name="T8" fmla="+- 0 17984 15467"/>
                    <a:gd name="T9" fmla="*/ T8 w 2518"/>
                    <a:gd name="T10" fmla="+- 0 -4004 -4004"/>
                    <a:gd name="T11" fmla="*/ -4004 h 799"/>
                    <a:gd name="T12" fmla="+- 0 15467 15467"/>
                    <a:gd name="T13" fmla="*/ T12 w 2518"/>
                    <a:gd name="T14" fmla="+- 0 -4004 -4004"/>
                    <a:gd name="T15" fmla="*/ -4004 h 799"/>
                    <a:gd name="T16" fmla="+- 0 15467 15467"/>
                    <a:gd name="T17" fmla="*/ T16 w 2518"/>
                    <a:gd name="T18" fmla="+- 0 -3205 -4004"/>
                    <a:gd name="T19" fmla="*/ -3205 h 799"/>
                  </a:gdLst>
                  <a:ahLst/>
                  <a:cxnLst>
                    <a:cxn ang="0">
                      <a:pos x="T1" y="T3"/>
                    </a:cxn>
                    <a:cxn ang="0">
                      <a:pos x="T5" y="T7"/>
                    </a:cxn>
                    <a:cxn ang="0">
                      <a:pos x="T9" y="T11"/>
                    </a:cxn>
                    <a:cxn ang="0">
                      <a:pos x="T13" y="T15"/>
                    </a:cxn>
                    <a:cxn ang="0">
                      <a:pos x="T17" y="T19"/>
                    </a:cxn>
                  </a:cxnLst>
                  <a:rect l="0" t="0" r="r" b="b"/>
                  <a:pathLst>
                    <a:path w="2518" h="799">
                      <a:moveTo>
                        <a:pt x="0" y="799"/>
                      </a:moveTo>
                      <a:lnTo>
                        <a:pt x="2517" y="799"/>
                      </a:lnTo>
                      <a:lnTo>
                        <a:pt x="2517"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66" name="Group 74"/>
              <p:cNvGrpSpPr>
                <a:grpSpLocks/>
              </p:cNvGrpSpPr>
              <p:nvPr/>
            </p:nvGrpSpPr>
            <p:grpSpPr bwMode="gray">
              <a:xfrm>
                <a:off x="15467" y="-4004"/>
                <a:ext cx="2518" cy="799"/>
                <a:chOff x="15467" y="-4004"/>
                <a:chExt cx="2518" cy="799"/>
              </a:xfrm>
            </p:grpSpPr>
            <p:sp>
              <p:nvSpPr>
                <p:cNvPr id="128" name="Freeform 75"/>
                <p:cNvSpPr>
                  <a:spLocks/>
                </p:cNvSpPr>
                <p:nvPr/>
              </p:nvSpPr>
              <p:spPr bwMode="gray">
                <a:xfrm>
                  <a:off x="15467" y="-4004"/>
                  <a:ext cx="2518" cy="799"/>
                </a:xfrm>
                <a:custGeom>
                  <a:avLst/>
                  <a:gdLst>
                    <a:gd name="T0" fmla="+- 0 15467 15467"/>
                    <a:gd name="T1" fmla="*/ T0 w 2518"/>
                    <a:gd name="T2" fmla="+- 0 -3205 -4004"/>
                    <a:gd name="T3" fmla="*/ -3205 h 799"/>
                    <a:gd name="T4" fmla="+- 0 17984 15467"/>
                    <a:gd name="T5" fmla="*/ T4 w 2518"/>
                    <a:gd name="T6" fmla="+- 0 -3205 -4004"/>
                    <a:gd name="T7" fmla="*/ -3205 h 799"/>
                    <a:gd name="T8" fmla="+- 0 17984 15467"/>
                    <a:gd name="T9" fmla="*/ T8 w 2518"/>
                    <a:gd name="T10" fmla="+- 0 -4004 -4004"/>
                    <a:gd name="T11" fmla="*/ -4004 h 799"/>
                    <a:gd name="T12" fmla="+- 0 15467 15467"/>
                    <a:gd name="T13" fmla="*/ T12 w 2518"/>
                    <a:gd name="T14" fmla="+- 0 -4004 -4004"/>
                    <a:gd name="T15" fmla="*/ -4004 h 799"/>
                    <a:gd name="T16" fmla="+- 0 15467 15467"/>
                    <a:gd name="T17" fmla="*/ T16 w 2518"/>
                    <a:gd name="T18" fmla="+- 0 -3205 -4004"/>
                    <a:gd name="T19" fmla="*/ -3205 h 799"/>
                  </a:gdLst>
                  <a:ahLst/>
                  <a:cxnLst>
                    <a:cxn ang="0">
                      <a:pos x="T1" y="T3"/>
                    </a:cxn>
                    <a:cxn ang="0">
                      <a:pos x="T5" y="T7"/>
                    </a:cxn>
                    <a:cxn ang="0">
                      <a:pos x="T9" y="T11"/>
                    </a:cxn>
                    <a:cxn ang="0">
                      <a:pos x="T13" y="T15"/>
                    </a:cxn>
                    <a:cxn ang="0">
                      <a:pos x="T17" y="T19"/>
                    </a:cxn>
                  </a:cxnLst>
                  <a:rect l="0" t="0" r="r" b="b"/>
                  <a:pathLst>
                    <a:path w="2518" h="799">
                      <a:moveTo>
                        <a:pt x="0" y="799"/>
                      </a:moveTo>
                      <a:lnTo>
                        <a:pt x="2517" y="799"/>
                      </a:lnTo>
                      <a:lnTo>
                        <a:pt x="2517"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67" name="Group 76"/>
              <p:cNvGrpSpPr>
                <a:grpSpLocks/>
              </p:cNvGrpSpPr>
              <p:nvPr/>
            </p:nvGrpSpPr>
            <p:grpSpPr bwMode="gray">
              <a:xfrm>
                <a:off x="15467" y="-2872"/>
                <a:ext cx="2518" cy="799"/>
                <a:chOff x="15467" y="-2872"/>
                <a:chExt cx="2518" cy="799"/>
              </a:xfrm>
            </p:grpSpPr>
            <p:sp>
              <p:nvSpPr>
                <p:cNvPr id="127" name="Freeform 77"/>
                <p:cNvSpPr>
                  <a:spLocks/>
                </p:cNvSpPr>
                <p:nvPr/>
              </p:nvSpPr>
              <p:spPr bwMode="gray">
                <a:xfrm>
                  <a:off x="15467" y="-2872"/>
                  <a:ext cx="2518" cy="799"/>
                </a:xfrm>
                <a:custGeom>
                  <a:avLst/>
                  <a:gdLst>
                    <a:gd name="T0" fmla="+- 0 15467 15467"/>
                    <a:gd name="T1" fmla="*/ T0 w 2518"/>
                    <a:gd name="T2" fmla="+- 0 -2072 -2872"/>
                    <a:gd name="T3" fmla="*/ -2072 h 799"/>
                    <a:gd name="T4" fmla="+- 0 17984 15467"/>
                    <a:gd name="T5" fmla="*/ T4 w 2518"/>
                    <a:gd name="T6" fmla="+- 0 -2072 -2872"/>
                    <a:gd name="T7" fmla="*/ -2072 h 799"/>
                    <a:gd name="T8" fmla="+- 0 17984 15467"/>
                    <a:gd name="T9" fmla="*/ T8 w 2518"/>
                    <a:gd name="T10" fmla="+- 0 -2872 -2872"/>
                    <a:gd name="T11" fmla="*/ -2872 h 799"/>
                    <a:gd name="T12" fmla="+- 0 15467 15467"/>
                    <a:gd name="T13" fmla="*/ T12 w 2518"/>
                    <a:gd name="T14" fmla="+- 0 -2872 -2872"/>
                    <a:gd name="T15" fmla="*/ -2872 h 799"/>
                    <a:gd name="T16" fmla="+- 0 15467 15467"/>
                    <a:gd name="T17" fmla="*/ T16 w 2518"/>
                    <a:gd name="T18" fmla="+- 0 -2072 -2872"/>
                    <a:gd name="T19" fmla="*/ -2072 h 799"/>
                  </a:gdLst>
                  <a:ahLst/>
                  <a:cxnLst>
                    <a:cxn ang="0">
                      <a:pos x="T1" y="T3"/>
                    </a:cxn>
                    <a:cxn ang="0">
                      <a:pos x="T5" y="T7"/>
                    </a:cxn>
                    <a:cxn ang="0">
                      <a:pos x="T9" y="T11"/>
                    </a:cxn>
                    <a:cxn ang="0">
                      <a:pos x="T13" y="T15"/>
                    </a:cxn>
                    <a:cxn ang="0">
                      <a:pos x="T17" y="T19"/>
                    </a:cxn>
                  </a:cxnLst>
                  <a:rect l="0" t="0" r="r" b="b"/>
                  <a:pathLst>
                    <a:path w="2518" h="799">
                      <a:moveTo>
                        <a:pt x="0" y="800"/>
                      </a:moveTo>
                      <a:lnTo>
                        <a:pt x="2517" y="800"/>
                      </a:lnTo>
                      <a:lnTo>
                        <a:pt x="2517" y="0"/>
                      </a:lnTo>
                      <a:lnTo>
                        <a:pt x="0" y="0"/>
                      </a:lnTo>
                      <a:lnTo>
                        <a:pt x="0" y="80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68" name="Group 78"/>
              <p:cNvGrpSpPr>
                <a:grpSpLocks/>
              </p:cNvGrpSpPr>
              <p:nvPr/>
            </p:nvGrpSpPr>
            <p:grpSpPr bwMode="gray">
              <a:xfrm>
                <a:off x="15467" y="-2872"/>
                <a:ext cx="2518" cy="799"/>
                <a:chOff x="15467" y="-2872"/>
                <a:chExt cx="2518" cy="799"/>
              </a:xfrm>
            </p:grpSpPr>
            <p:sp>
              <p:nvSpPr>
                <p:cNvPr id="126" name="Freeform 79"/>
                <p:cNvSpPr>
                  <a:spLocks/>
                </p:cNvSpPr>
                <p:nvPr/>
              </p:nvSpPr>
              <p:spPr bwMode="gray">
                <a:xfrm>
                  <a:off x="15467" y="-2872"/>
                  <a:ext cx="2518" cy="799"/>
                </a:xfrm>
                <a:custGeom>
                  <a:avLst/>
                  <a:gdLst>
                    <a:gd name="T0" fmla="+- 0 15467 15467"/>
                    <a:gd name="T1" fmla="*/ T0 w 2518"/>
                    <a:gd name="T2" fmla="+- 0 -2072 -2872"/>
                    <a:gd name="T3" fmla="*/ -2072 h 799"/>
                    <a:gd name="T4" fmla="+- 0 17984 15467"/>
                    <a:gd name="T5" fmla="*/ T4 w 2518"/>
                    <a:gd name="T6" fmla="+- 0 -2072 -2872"/>
                    <a:gd name="T7" fmla="*/ -2072 h 799"/>
                    <a:gd name="T8" fmla="+- 0 17984 15467"/>
                    <a:gd name="T9" fmla="*/ T8 w 2518"/>
                    <a:gd name="T10" fmla="+- 0 -2872 -2872"/>
                    <a:gd name="T11" fmla="*/ -2872 h 799"/>
                    <a:gd name="T12" fmla="+- 0 15467 15467"/>
                    <a:gd name="T13" fmla="*/ T12 w 2518"/>
                    <a:gd name="T14" fmla="+- 0 -2872 -2872"/>
                    <a:gd name="T15" fmla="*/ -2872 h 799"/>
                    <a:gd name="T16" fmla="+- 0 15467 15467"/>
                    <a:gd name="T17" fmla="*/ T16 w 2518"/>
                    <a:gd name="T18" fmla="+- 0 -2072 -2872"/>
                    <a:gd name="T19" fmla="*/ -2072 h 799"/>
                  </a:gdLst>
                  <a:ahLst/>
                  <a:cxnLst>
                    <a:cxn ang="0">
                      <a:pos x="T1" y="T3"/>
                    </a:cxn>
                    <a:cxn ang="0">
                      <a:pos x="T5" y="T7"/>
                    </a:cxn>
                    <a:cxn ang="0">
                      <a:pos x="T9" y="T11"/>
                    </a:cxn>
                    <a:cxn ang="0">
                      <a:pos x="T13" y="T15"/>
                    </a:cxn>
                    <a:cxn ang="0">
                      <a:pos x="T17" y="T19"/>
                    </a:cxn>
                  </a:cxnLst>
                  <a:rect l="0" t="0" r="r" b="b"/>
                  <a:pathLst>
                    <a:path w="2518" h="799">
                      <a:moveTo>
                        <a:pt x="0" y="800"/>
                      </a:moveTo>
                      <a:lnTo>
                        <a:pt x="2517" y="800"/>
                      </a:lnTo>
                      <a:lnTo>
                        <a:pt x="2517" y="0"/>
                      </a:lnTo>
                      <a:lnTo>
                        <a:pt x="0" y="0"/>
                      </a:lnTo>
                      <a:lnTo>
                        <a:pt x="0" y="800"/>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69" name="Group 80"/>
              <p:cNvGrpSpPr>
                <a:grpSpLocks/>
              </p:cNvGrpSpPr>
              <p:nvPr/>
            </p:nvGrpSpPr>
            <p:grpSpPr bwMode="gray">
              <a:xfrm>
                <a:off x="15467" y="-1811"/>
                <a:ext cx="2518" cy="799"/>
                <a:chOff x="15467" y="-1811"/>
                <a:chExt cx="2518" cy="799"/>
              </a:xfrm>
            </p:grpSpPr>
            <p:sp>
              <p:nvSpPr>
                <p:cNvPr id="125" name="Freeform 81"/>
                <p:cNvSpPr>
                  <a:spLocks/>
                </p:cNvSpPr>
                <p:nvPr/>
              </p:nvSpPr>
              <p:spPr bwMode="gray">
                <a:xfrm>
                  <a:off x="15467" y="-1811"/>
                  <a:ext cx="2518" cy="799"/>
                </a:xfrm>
                <a:custGeom>
                  <a:avLst/>
                  <a:gdLst>
                    <a:gd name="T0" fmla="+- 0 15467 15467"/>
                    <a:gd name="T1" fmla="*/ T0 w 2518"/>
                    <a:gd name="T2" fmla="+- 0 -1012 -1811"/>
                    <a:gd name="T3" fmla="*/ -1012 h 799"/>
                    <a:gd name="T4" fmla="+- 0 17984 15467"/>
                    <a:gd name="T5" fmla="*/ T4 w 2518"/>
                    <a:gd name="T6" fmla="+- 0 -1012 -1811"/>
                    <a:gd name="T7" fmla="*/ -1012 h 799"/>
                    <a:gd name="T8" fmla="+- 0 17984 15467"/>
                    <a:gd name="T9" fmla="*/ T8 w 2518"/>
                    <a:gd name="T10" fmla="+- 0 -1811 -1811"/>
                    <a:gd name="T11" fmla="*/ -1811 h 799"/>
                    <a:gd name="T12" fmla="+- 0 15467 15467"/>
                    <a:gd name="T13" fmla="*/ T12 w 2518"/>
                    <a:gd name="T14" fmla="+- 0 -1811 -1811"/>
                    <a:gd name="T15" fmla="*/ -1811 h 799"/>
                    <a:gd name="T16" fmla="+- 0 15467 15467"/>
                    <a:gd name="T17" fmla="*/ T16 w 2518"/>
                    <a:gd name="T18" fmla="+- 0 -1012 -1811"/>
                    <a:gd name="T19" fmla="*/ -1012 h 799"/>
                  </a:gdLst>
                  <a:ahLst/>
                  <a:cxnLst>
                    <a:cxn ang="0">
                      <a:pos x="T1" y="T3"/>
                    </a:cxn>
                    <a:cxn ang="0">
                      <a:pos x="T5" y="T7"/>
                    </a:cxn>
                    <a:cxn ang="0">
                      <a:pos x="T9" y="T11"/>
                    </a:cxn>
                    <a:cxn ang="0">
                      <a:pos x="T13" y="T15"/>
                    </a:cxn>
                    <a:cxn ang="0">
                      <a:pos x="T17" y="T19"/>
                    </a:cxn>
                  </a:cxnLst>
                  <a:rect l="0" t="0" r="r" b="b"/>
                  <a:pathLst>
                    <a:path w="2518" h="799">
                      <a:moveTo>
                        <a:pt x="0" y="799"/>
                      </a:moveTo>
                      <a:lnTo>
                        <a:pt x="2517" y="799"/>
                      </a:lnTo>
                      <a:lnTo>
                        <a:pt x="2517"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70" name="Group 82"/>
              <p:cNvGrpSpPr>
                <a:grpSpLocks/>
              </p:cNvGrpSpPr>
              <p:nvPr/>
            </p:nvGrpSpPr>
            <p:grpSpPr bwMode="gray">
              <a:xfrm>
                <a:off x="15467" y="-1811"/>
                <a:ext cx="2518" cy="799"/>
                <a:chOff x="15467" y="-1811"/>
                <a:chExt cx="2518" cy="799"/>
              </a:xfrm>
            </p:grpSpPr>
            <p:sp>
              <p:nvSpPr>
                <p:cNvPr id="124" name="Freeform 83"/>
                <p:cNvSpPr>
                  <a:spLocks/>
                </p:cNvSpPr>
                <p:nvPr/>
              </p:nvSpPr>
              <p:spPr bwMode="gray">
                <a:xfrm>
                  <a:off x="15467" y="-1811"/>
                  <a:ext cx="2518" cy="799"/>
                </a:xfrm>
                <a:custGeom>
                  <a:avLst/>
                  <a:gdLst>
                    <a:gd name="T0" fmla="+- 0 15467 15467"/>
                    <a:gd name="T1" fmla="*/ T0 w 2518"/>
                    <a:gd name="T2" fmla="+- 0 -1012 -1811"/>
                    <a:gd name="T3" fmla="*/ -1012 h 799"/>
                    <a:gd name="T4" fmla="+- 0 17984 15467"/>
                    <a:gd name="T5" fmla="*/ T4 w 2518"/>
                    <a:gd name="T6" fmla="+- 0 -1012 -1811"/>
                    <a:gd name="T7" fmla="*/ -1012 h 799"/>
                    <a:gd name="T8" fmla="+- 0 17984 15467"/>
                    <a:gd name="T9" fmla="*/ T8 w 2518"/>
                    <a:gd name="T10" fmla="+- 0 -1811 -1811"/>
                    <a:gd name="T11" fmla="*/ -1811 h 799"/>
                    <a:gd name="T12" fmla="+- 0 15467 15467"/>
                    <a:gd name="T13" fmla="*/ T12 w 2518"/>
                    <a:gd name="T14" fmla="+- 0 -1811 -1811"/>
                    <a:gd name="T15" fmla="*/ -1811 h 799"/>
                    <a:gd name="T16" fmla="+- 0 15467 15467"/>
                    <a:gd name="T17" fmla="*/ T16 w 2518"/>
                    <a:gd name="T18" fmla="+- 0 -1012 -1811"/>
                    <a:gd name="T19" fmla="*/ -1012 h 799"/>
                  </a:gdLst>
                  <a:ahLst/>
                  <a:cxnLst>
                    <a:cxn ang="0">
                      <a:pos x="T1" y="T3"/>
                    </a:cxn>
                    <a:cxn ang="0">
                      <a:pos x="T5" y="T7"/>
                    </a:cxn>
                    <a:cxn ang="0">
                      <a:pos x="T9" y="T11"/>
                    </a:cxn>
                    <a:cxn ang="0">
                      <a:pos x="T13" y="T15"/>
                    </a:cxn>
                    <a:cxn ang="0">
                      <a:pos x="T17" y="T19"/>
                    </a:cxn>
                  </a:cxnLst>
                  <a:rect l="0" t="0" r="r" b="b"/>
                  <a:pathLst>
                    <a:path w="2518" h="799">
                      <a:moveTo>
                        <a:pt x="0" y="799"/>
                      </a:moveTo>
                      <a:lnTo>
                        <a:pt x="2517" y="799"/>
                      </a:lnTo>
                      <a:lnTo>
                        <a:pt x="2517"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71" name="Group 84"/>
              <p:cNvGrpSpPr>
                <a:grpSpLocks/>
              </p:cNvGrpSpPr>
              <p:nvPr/>
            </p:nvGrpSpPr>
            <p:grpSpPr bwMode="gray">
              <a:xfrm>
                <a:off x="17095" y="-6031"/>
                <a:ext cx="886" cy="552"/>
                <a:chOff x="17095" y="-6031"/>
                <a:chExt cx="886" cy="552"/>
              </a:xfrm>
            </p:grpSpPr>
            <p:sp>
              <p:nvSpPr>
                <p:cNvPr id="123" name="Freeform 85"/>
                <p:cNvSpPr>
                  <a:spLocks/>
                </p:cNvSpPr>
                <p:nvPr/>
              </p:nvSpPr>
              <p:spPr bwMode="gray">
                <a:xfrm>
                  <a:off x="17095" y="-6031"/>
                  <a:ext cx="886" cy="552"/>
                </a:xfrm>
                <a:custGeom>
                  <a:avLst/>
                  <a:gdLst>
                    <a:gd name="T0" fmla="+- 0 17095 17095"/>
                    <a:gd name="T1" fmla="*/ T0 w 886"/>
                    <a:gd name="T2" fmla="+- 0 -5479 -6031"/>
                    <a:gd name="T3" fmla="*/ -5479 h 552"/>
                    <a:gd name="T4" fmla="+- 0 17981 17095"/>
                    <a:gd name="T5" fmla="*/ T4 w 886"/>
                    <a:gd name="T6" fmla="+- 0 -5479 -6031"/>
                    <a:gd name="T7" fmla="*/ -5479 h 552"/>
                    <a:gd name="T8" fmla="+- 0 17981 17095"/>
                    <a:gd name="T9" fmla="*/ T8 w 886"/>
                    <a:gd name="T10" fmla="+- 0 -6031 -6031"/>
                    <a:gd name="T11" fmla="*/ -6031 h 552"/>
                    <a:gd name="T12" fmla="+- 0 17095 17095"/>
                    <a:gd name="T13" fmla="*/ T12 w 886"/>
                    <a:gd name="T14" fmla="+- 0 -6031 -6031"/>
                    <a:gd name="T15" fmla="*/ -6031 h 552"/>
                    <a:gd name="T16" fmla="+- 0 17095 17095"/>
                    <a:gd name="T17" fmla="*/ T16 w 886"/>
                    <a:gd name="T18" fmla="+- 0 -5479 -6031"/>
                    <a:gd name="T19" fmla="*/ -5479 h 552"/>
                  </a:gdLst>
                  <a:ahLst/>
                  <a:cxnLst>
                    <a:cxn ang="0">
                      <a:pos x="T1" y="T3"/>
                    </a:cxn>
                    <a:cxn ang="0">
                      <a:pos x="T5" y="T7"/>
                    </a:cxn>
                    <a:cxn ang="0">
                      <a:pos x="T9" y="T11"/>
                    </a:cxn>
                    <a:cxn ang="0">
                      <a:pos x="T13" y="T15"/>
                    </a:cxn>
                    <a:cxn ang="0">
                      <a:pos x="T17" y="T19"/>
                    </a:cxn>
                  </a:cxnLst>
                  <a:rect l="0" t="0" r="r" b="b"/>
                  <a:pathLst>
                    <a:path w="886" h="552">
                      <a:moveTo>
                        <a:pt x="0" y="552"/>
                      </a:moveTo>
                      <a:lnTo>
                        <a:pt x="886" y="552"/>
                      </a:lnTo>
                      <a:lnTo>
                        <a:pt x="886" y="0"/>
                      </a:lnTo>
                      <a:lnTo>
                        <a:pt x="0" y="0"/>
                      </a:lnTo>
                      <a:lnTo>
                        <a:pt x="0" y="552"/>
                      </a:lnTo>
                    </a:path>
                  </a:pathLst>
                </a:custGeom>
                <a:solidFill>
                  <a:srgbClr val="CC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72" name="Group 86"/>
              <p:cNvGrpSpPr>
                <a:grpSpLocks/>
              </p:cNvGrpSpPr>
              <p:nvPr/>
            </p:nvGrpSpPr>
            <p:grpSpPr bwMode="gray">
              <a:xfrm>
                <a:off x="16382" y="-5687"/>
                <a:ext cx="572" cy="692"/>
                <a:chOff x="16382" y="-5687"/>
                <a:chExt cx="572" cy="692"/>
              </a:xfrm>
            </p:grpSpPr>
            <p:sp>
              <p:nvSpPr>
                <p:cNvPr id="119" name="Freeform 87"/>
                <p:cNvSpPr>
                  <a:spLocks/>
                </p:cNvSpPr>
                <p:nvPr/>
              </p:nvSpPr>
              <p:spPr bwMode="gray">
                <a:xfrm>
                  <a:off x="16382" y="-5687"/>
                  <a:ext cx="572" cy="692"/>
                </a:xfrm>
                <a:custGeom>
                  <a:avLst/>
                  <a:gdLst>
                    <a:gd name="T0" fmla="+- 0 16412 16382"/>
                    <a:gd name="T1" fmla="*/ T0 w 572"/>
                    <a:gd name="T2" fmla="+- 0 -5126 -5687"/>
                    <a:gd name="T3" fmla="*/ -5126 h 692"/>
                    <a:gd name="T4" fmla="+- 0 16382 16382"/>
                    <a:gd name="T5" fmla="*/ T4 w 572"/>
                    <a:gd name="T6" fmla="+- 0 -4996 -5687"/>
                    <a:gd name="T7" fmla="*/ -4996 h 692"/>
                    <a:gd name="T8" fmla="+- 0 16505 16382"/>
                    <a:gd name="T9" fmla="*/ T8 w 572"/>
                    <a:gd name="T10" fmla="+- 0 -5050 -5687"/>
                    <a:gd name="T11" fmla="*/ -5050 h 692"/>
                    <a:gd name="T12" fmla="+- 0 16485 16382"/>
                    <a:gd name="T13" fmla="*/ T12 w 572"/>
                    <a:gd name="T14" fmla="+- 0 -5066 -5687"/>
                    <a:gd name="T15" fmla="*/ -5066 h 692"/>
                    <a:gd name="T16" fmla="+- 0 16454 16382"/>
                    <a:gd name="T17" fmla="*/ T16 w 572"/>
                    <a:gd name="T18" fmla="+- 0 -5066 -5687"/>
                    <a:gd name="T19" fmla="*/ -5066 h 692"/>
                    <a:gd name="T20" fmla="+- 0 16438 16382"/>
                    <a:gd name="T21" fmla="*/ T20 w 572"/>
                    <a:gd name="T22" fmla="+- 0 -5079 -5687"/>
                    <a:gd name="T23" fmla="*/ -5079 h 692"/>
                    <a:gd name="T24" fmla="+- 0 16451 16382"/>
                    <a:gd name="T25" fmla="*/ T24 w 572"/>
                    <a:gd name="T26" fmla="+- 0 -5095 -5687"/>
                    <a:gd name="T27" fmla="*/ -5095 h 692"/>
                    <a:gd name="T28" fmla="+- 0 16412 16382"/>
                    <a:gd name="T29" fmla="*/ T28 w 572"/>
                    <a:gd name="T30" fmla="+- 0 -5126 -5687"/>
                    <a:gd name="T31" fmla="*/ -5126 h 692"/>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572" h="692">
                      <a:moveTo>
                        <a:pt x="30" y="561"/>
                      </a:moveTo>
                      <a:lnTo>
                        <a:pt x="0" y="691"/>
                      </a:lnTo>
                      <a:lnTo>
                        <a:pt x="123" y="637"/>
                      </a:lnTo>
                      <a:lnTo>
                        <a:pt x="103" y="621"/>
                      </a:lnTo>
                      <a:lnTo>
                        <a:pt x="72" y="621"/>
                      </a:lnTo>
                      <a:lnTo>
                        <a:pt x="56" y="608"/>
                      </a:lnTo>
                      <a:lnTo>
                        <a:pt x="69" y="592"/>
                      </a:lnTo>
                      <a:lnTo>
                        <a:pt x="30" y="561"/>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0" name="Freeform 88"/>
                <p:cNvSpPr>
                  <a:spLocks/>
                </p:cNvSpPr>
                <p:nvPr/>
              </p:nvSpPr>
              <p:spPr bwMode="gray">
                <a:xfrm>
                  <a:off x="16382" y="-5687"/>
                  <a:ext cx="572" cy="692"/>
                </a:xfrm>
                <a:custGeom>
                  <a:avLst/>
                  <a:gdLst>
                    <a:gd name="T0" fmla="+- 0 16451 16382"/>
                    <a:gd name="T1" fmla="*/ T0 w 572"/>
                    <a:gd name="T2" fmla="+- 0 -5095 -5687"/>
                    <a:gd name="T3" fmla="*/ -5095 h 692"/>
                    <a:gd name="T4" fmla="+- 0 16438 16382"/>
                    <a:gd name="T5" fmla="*/ T4 w 572"/>
                    <a:gd name="T6" fmla="+- 0 -5079 -5687"/>
                    <a:gd name="T7" fmla="*/ -5079 h 692"/>
                    <a:gd name="T8" fmla="+- 0 16454 16382"/>
                    <a:gd name="T9" fmla="*/ T8 w 572"/>
                    <a:gd name="T10" fmla="+- 0 -5066 -5687"/>
                    <a:gd name="T11" fmla="*/ -5066 h 692"/>
                    <a:gd name="T12" fmla="+- 0 16466 16382"/>
                    <a:gd name="T13" fmla="*/ T12 w 572"/>
                    <a:gd name="T14" fmla="+- 0 -5082 -5687"/>
                    <a:gd name="T15" fmla="*/ -5082 h 692"/>
                    <a:gd name="T16" fmla="+- 0 16451 16382"/>
                    <a:gd name="T17" fmla="*/ T16 w 572"/>
                    <a:gd name="T18" fmla="+- 0 -5095 -5687"/>
                    <a:gd name="T19" fmla="*/ -5095 h 692"/>
                  </a:gdLst>
                  <a:ahLst/>
                  <a:cxnLst>
                    <a:cxn ang="0">
                      <a:pos x="T1" y="T3"/>
                    </a:cxn>
                    <a:cxn ang="0">
                      <a:pos x="T5" y="T7"/>
                    </a:cxn>
                    <a:cxn ang="0">
                      <a:pos x="T9" y="T11"/>
                    </a:cxn>
                    <a:cxn ang="0">
                      <a:pos x="T13" y="T15"/>
                    </a:cxn>
                    <a:cxn ang="0">
                      <a:pos x="T17" y="T19"/>
                    </a:cxn>
                  </a:cxnLst>
                  <a:rect l="0" t="0" r="r" b="b"/>
                  <a:pathLst>
                    <a:path w="572" h="692">
                      <a:moveTo>
                        <a:pt x="69" y="592"/>
                      </a:moveTo>
                      <a:lnTo>
                        <a:pt x="56" y="608"/>
                      </a:lnTo>
                      <a:lnTo>
                        <a:pt x="72" y="621"/>
                      </a:lnTo>
                      <a:lnTo>
                        <a:pt x="84" y="605"/>
                      </a:lnTo>
                      <a:lnTo>
                        <a:pt x="69" y="592"/>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1" name="Freeform 89"/>
                <p:cNvSpPr>
                  <a:spLocks/>
                </p:cNvSpPr>
                <p:nvPr/>
              </p:nvSpPr>
              <p:spPr bwMode="gray">
                <a:xfrm>
                  <a:off x="16382" y="-5687"/>
                  <a:ext cx="572" cy="692"/>
                </a:xfrm>
                <a:custGeom>
                  <a:avLst/>
                  <a:gdLst>
                    <a:gd name="T0" fmla="+- 0 16466 16382"/>
                    <a:gd name="T1" fmla="*/ T0 w 572"/>
                    <a:gd name="T2" fmla="+- 0 -5082 -5687"/>
                    <a:gd name="T3" fmla="*/ -5082 h 692"/>
                    <a:gd name="T4" fmla="+- 0 16454 16382"/>
                    <a:gd name="T5" fmla="*/ T4 w 572"/>
                    <a:gd name="T6" fmla="+- 0 -5066 -5687"/>
                    <a:gd name="T7" fmla="*/ -5066 h 692"/>
                    <a:gd name="T8" fmla="+- 0 16485 16382"/>
                    <a:gd name="T9" fmla="*/ T8 w 572"/>
                    <a:gd name="T10" fmla="+- 0 -5066 -5687"/>
                    <a:gd name="T11" fmla="*/ -5066 h 692"/>
                    <a:gd name="T12" fmla="+- 0 16466 16382"/>
                    <a:gd name="T13" fmla="*/ T12 w 572"/>
                    <a:gd name="T14" fmla="+- 0 -5082 -5687"/>
                    <a:gd name="T15" fmla="*/ -5082 h 692"/>
                  </a:gdLst>
                  <a:ahLst/>
                  <a:cxnLst>
                    <a:cxn ang="0">
                      <a:pos x="T1" y="T3"/>
                    </a:cxn>
                    <a:cxn ang="0">
                      <a:pos x="T5" y="T7"/>
                    </a:cxn>
                    <a:cxn ang="0">
                      <a:pos x="T9" y="T11"/>
                    </a:cxn>
                    <a:cxn ang="0">
                      <a:pos x="T13" y="T15"/>
                    </a:cxn>
                  </a:cxnLst>
                  <a:rect l="0" t="0" r="r" b="b"/>
                  <a:pathLst>
                    <a:path w="572" h="692">
                      <a:moveTo>
                        <a:pt x="84" y="605"/>
                      </a:moveTo>
                      <a:lnTo>
                        <a:pt x="72" y="621"/>
                      </a:lnTo>
                      <a:lnTo>
                        <a:pt x="103" y="621"/>
                      </a:lnTo>
                      <a:lnTo>
                        <a:pt x="84" y="605"/>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2" name="Freeform 90"/>
                <p:cNvSpPr>
                  <a:spLocks/>
                </p:cNvSpPr>
                <p:nvPr/>
              </p:nvSpPr>
              <p:spPr bwMode="gray">
                <a:xfrm>
                  <a:off x="16382" y="-5687"/>
                  <a:ext cx="572" cy="692"/>
                </a:xfrm>
                <a:custGeom>
                  <a:avLst/>
                  <a:gdLst>
                    <a:gd name="T0" fmla="+- 0 16939 16382"/>
                    <a:gd name="T1" fmla="*/ T0 w 572"/>
                    <a:gd name="T2" fmla="+- 0 -5687 -5687"/>
                    <a:gd name="T3" fmla="*/ -5687 h 692"/>
                    <a:gd name="T4" fmla="+- 0 16451 16382"/>
                    <a:gd name="T5" fmla="*/ T4 w 572"/>
                    <a:gd name="T6" fmla="+- 0 -5095 -5687"/>
                    <a:gd name="T7" fmla="*/ -5095 h 692"/>
                    <a:gd name="T8" fmla="+- 0 16466 16382"/>
                    <a:gd name="T9" fmla="*/ T8 w 572"/>
                    <a:gd name="T10" fmla="+- 0 -5082 -5687"/>
                    <a:gd name="T11" fmla="*/ -5082 h 692"/>
                    <a:gd name="T12" fmla="+- 0 16954 16382"/>
                    <a:gd name="T13" fmla="*/ T12 w 572"/>
                    <a:gd name="T14" fmla="+- 0 -5674 -5687"/>
                    <a:gd name="T15" fmla="*/ -5674 h 692"/>
                    <a:gd name="T16" fmla="+- 0 16939 16382"/>
                    <a:gd name="T17" fmla="*/ T16 w 572"/>
                    <a:gd name="T18" fmla="+- 0 -5687 -5687"/>
                    <a:gd name="T19" fmla="*/ -5687 h 692"/>
                  </a:gdLst>
                  <a:ahLst/>
                  <a:cxnLst>
                    <a:cxn ang="0">
                      <a:pos x="T1" y="T3"/>
                    </a:cxn>
                    <a:cxn ang="0">
                      <a:pos x="T5" y="T7"/>
                    </a:cxn>
                    <a:cxn ang="0">
                      <a:pos x="T9" y="T11"/>
                    </a:cxn>
                    <a:cxn ang="0">
                      <a:pos x="T13" y="T15"/>
                    </a:cxn>
                    <a:cxn ang="0">
                      <a:pos x="T17" y="T19"/>
                    </a:cxn>
                  </a:cxnLst>
                  <a:rect l="0" t="0" r="r" b="b"/>
                  <a:pathLst>
                    <a:path w="572" h="692">
                      <a:moveTo>
                        <a:pt x="557" y="0"/>
                      </a:moveTo>
                      <a:lnTo>
                        <a:pt x="69" y="592"/>
                      </a:lnTo>
                      <a:lnTo>
                        <a:pt x="84" y="605"/>
                      </a:lnTo>
                      <a:lnTo>
                        <a:pt x="572" y="13"/>
                      </a:lnTo>
                      <a:lnTo>
                        <a:pt x="557" y="0"/>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73" name="Group 91"/>
              <p:cNvGrpSpPr>
                <a:grpSpLocks/>
              </p:cNvGrpSpPr>
              <p:nvPr/>
            </p:nvGrpSpPr>
            <p:grpSpPr bwMode="gray">
              <a:xfrm>
                <a:off x="15602" y="-4937"/>
                <a:ext cx="883" cy="552"/>
                <a:chOff x="15602" y="-4937"/>
                <a:chExt cx="883" cy="552"/>
              </a:xfrm>
            </p:grpSpPr>
            <p:sp>
              <p:nvSpPr>
                <p:cNvPr id="118" name="Freeform 92"/>
                <p:cNvSpPr>
                  <a:spLocks/>
                </p:cNvSpPr>
                <p:nvPr/>
              </p:nvSpPr>
              <p:spPr bwMode="gray">
                <a:xfrm>
                  <a:off x="15602" y="-4937"/>
                  <a:ext cx="883" cy="552"/>
                </a:xfrm>
                <a:custGeom>
                  <a:avLst/>
                  <a:gdLst>
                    <a:gd name="T0" fmla="+- 0 15602 15602"/>
                    <a:gd name="T1" fmla="*/ T0 w 883"/>
                    <a:gd name="T2" fmla="+- 0 -4385 -4937"/>
                    <a:gd name="T3" fmla="*/ -4385 h 552"/>
                    <a:gd name="T4" fmla="+- 0 16486 15602"/>
                    <a:gd name="T5" fmla="*/ T4 w 883"/>
                    <a:gd name="T6" fmla="+- 0 -4385 -4937"/>
                    <a:gd name="T7" fmla="*/ -4385 h 552"/>
                    <a:gd name="T8" fmla="+- 0 16486 15602"/>
                    <a:gd name="T9" fmla="*/ T8 w 883"/>
                    <a:gd name="T10" fmla="+- 0 -4937 -4937"/>
                    <a:gd name="T11" fmla="*/ -4937 h 552"/>
                    <a:gd name="T12" fmla="+- 0 15602 15602"/>
                    <a:gd name="T13" fmla="*/ T12 w 883"/>
                    <a:gd name="T14" fmla="+- 0 -4937 -4937"/>
                    <a:gd name="T15" fmla="*/ -4937 h 552"/>
                    <a:gd name="T16" fmla="+- 0 15602 15602"/>
                    <a:gd name="T17" fmla="*/ T16 w 883"/>
                    <a:gd name="T18" fmla="+- 0 -4385 -4937"/>
                    <a:gd name="T19" fmla="*/ -4385 h 552"/>
                  </a:gdLst>
                  <a:ahLst/>
                  <a:cxnLst>
                    <a:cxn ang="0">
                      <a:pos x="T1" y="T3"/>
                    </a:cxn>
                    <a:cxn ang="0">
                      <a:pos x="T5" y="T7"/>
                    </a:cxn>
                    <a:cxn ang="0">
                      <a:pos x="T9" y="T11"/>
                    </a:cxn>
                    <a:cxn ang="0">
                      <a:pos x="T13" y="T15"/>
                    </a:cxn>
                    <a:cxn ang="0">
                      <a:pos x="T17" y="T19"/>
                    </a:cxn>
                  </a:cxnLst>
                  <a:rect l="0" t="0" r="r" b="b"/>
                  <a:pathLst>
                    <a:path w="883" h="552">
                      <a:moveTo>
                        <a:pt x="0" y="552"/>
                      </a:moveTo>
                      <a:lnTo>
                        <a:pt x="884" y="552"/>
                      </a:lnTo>
                      <a:lnTo>
                        <a:pt x="884" y="0"/>
                      </a:lnTo>
                      <a:lnTo>
                        <a:pt x="0" y="0"/>
                      </a:lnTo>
                      <a:lnTo>
                        <a:pt x="0" y="552"/>
                      </a:lnTo>
                    </a:path>
                  </a:pathLst>
                </a:custGeom>
                <a:solidFill>
                  <a:srgbClr val="779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74" name="Group 93"/>
              <p:cNvGrpSpPr>
                <a:grpSpLocks/>
              </p:cNvGrpSpPr>
              <p:nvPr/>
            </p:nvGrpSpPr>
            <p:grpSpPr bwMode="gray">
              <a:xfrm>
                <a:off x="17028" y="-3893"/>
                <a:ext cx="883" cy="554"/>
                <a:chOff x="17028" y="-3893"/>
                <a:chExt cx="883" cy="554"/>
              </a:xfrm>
            </p:grpSpPr>
            <p:sp>
              <p:nvSpPr>
                <p:cNvPr id="117" name="Freeform 94"/>
                <p:cNvSpPr>
                  <a:spLocks/>
                </p:cNvSpPr>
                <p:nvPr/>
              </p:nvSpPr>
              <p:spPr bwMode="gray">
                <a:xfrm>
                  <a:off x="17028" y="-3893"/>
                  <a:ext cx="883" cy="554"/>
                </a:xfrm>
                <a:custGeom>
                  <a:avLst/>
                  <a:gdLst>
                    <a:gd name="T0" fmla="+- 0 17028 17028"/>
                    <a:gd name="T1" fmla="*/ T0 w 883"/>
                    <a:gd name="T2" fmla="+- 0 -3338 -3893"/>
                    <a:gd name="T3" fmla="*/ -3338 h 554"/>
                    <a:gd name="T4" fmla="+- 0 17911 17028"/>
                    <a:gd name="T5" fmla="*/ T4 w 883"/>
                    <a:gd name="T6" fmla="+- 0 -3338 -3893"/>
                    <a:gd name="T7" fmla="*/ -3338 h 554"/>
                    <a:gd name="T8" fmla="+- 0 17911 17028"/>
                    <a:gd name="T9" fmla="*/ T8 w 883"/>
                    <a:gd name="T10" fmla="+- 0 -3893 -3893"/>
                    <a:gd name="T11" fmla="*/ -3893 h 554"/>
                    <a:gd name="T12" fmla="+- 0 17028 17028"/>
                    <a:gd name="T13" fmla="*/ T12 w 883"/>
                    <a:gd name="T14" fmla="+- 0 -3893 -3893"/>
                    <a:gd name="T15" fmla="*/ -3893 h 554"/>
                    <a:gd name="T16" fmla="+- 0 17028 17028"/>
                    <a:gd name="T17" fmla="*/ T16 w 883"/>
                    <a:gd name="T18" fmla="+- 0 -3338 -3893"/>
                    <a:gd name="T19" fmla="*/ -3338 h 554"/>
                  </a:gdLst>
                  <a:ahLst/>
                  <a:cxnLst>
                    <a:cxn ang="0">
                      <a:pos x="T1" y="T3"/>
                    </a:cxn>
                    <a:cxn ang="0">
                      <a:pos x="T5" y="T7"/>
                    </a:cxn>
                    <a:cxn ang="0">
                      <a:pos x="T9" y="T11"/>
                    </a:cxn>
                    <a:cxn ang="0">
                      <a:pos x="T13" y="T15"/>
                    </a:cxn>
                    <a:cxn ang="0">
                      <a:pos x="T17" y="T19"/>
                    </a:cxn>
                  </a:cxnLst>
                  <a:rect l="0" t="0" r="r" b="b"/>
                  <a:pathLst>
                    <a:path w="883" h="554">
                      <a:moveTo>
                        <a:pt x="0" y="555"/>
                      </a:moveTo>
                      <a:lnTo>
                        <a:pt x="883" y="555"/>
                      </a:lnTo>
                      <a:lnTo>
                        <a:pt x="883" y="0"/>
                      </a:lnTo>
                      <a:lnTo>
                        <a:pt x="0" y="0"/>
                      </a:lnTo>
                      <a:lnTo>
                        <a:pt x="0" y="555"/>
                      </a:lnTo>
                    </a:path>
                  </a:pathLst>
                </a:custGeom>
                <a:solidFill>
                  <a:srgbClr val="CC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75" name="Group 95"/>
              <p:cNvGrpSpPr>
                <a:grpSpLocks/>
              </p:cNvGrpSpPr>
              <p:nvPr/>
            </p:nvGrpSpPr>
            <p:grpSpPr bwMode="gray">
              <a:xfrm>
                <a:off x="19547" y="-10038"/>
                <a:ext cx="3588" cy="9619"/>
                <a:chOff x="19547" y="-10038"/>
                <a:chExt cx="3588" cy="9619"/>
              </a:xfrm>
            </p:grpSpPr>
            <p:sp>
              <p:nvSpPr>
                <p:cNvPr id="116" name="Freeform 96"/>
                <p:cNvSpPr>
                  <a:spLocks/>
                </p:cNvSpPr>
                <p:nvPr/>
              </p:nvSpPr>
              <p:spPr bwMode="gray">
                <a:xfrm>
                  <a:off x="19547" y="-10038"/>
                  <a:ext cx="3588" cy="9619"/>
                </a:xfrm>
                <a:custGeom>
                  <a:avLst/>
                  <a:gdLst>
                    <a:gd name="T0" fmla="+- 0 19547 19547"/>
                    <a:gd name="T1" fmla="*/ T0 w 3588"/>
                    <a:gd name="T2" fmla="+- 0 -419 -10038"/>
                    <a:gd name="T3" fmla="*/ -419 h 9619"/>
                    <a:gd name="T4" fmla="+- 0 23135 19547"/>
                    <a:gd name="T5" fmla="*/ T4 w 3588"/>
                    <a:gd name="T6" fmla="+- 0 -419 -10038"/>
                    <a:gd name="T7" fmla="*/ -419 h 9619"/>
                    <a:gd name="T8" fmla="+- 0 23135 19547"/>
                    <a:gd name="T9" fmla="*/ T8 w 3588"/>
                    <a:gd name="T10" fmla="+- 0 -10038 -10038"/>
                    <a:gd name="T11" fmla="*/ -10038 h 9619"/>
                    <a:gd name="T12" fmla="+- 0 19547 19547"/>
                    <a:gd name="T13" fmla="*/ T12 w 3588"/>
                    <a:gd name="T14" fmla="+- 0 -10038 -10038"/>
                    <a:gd name="T15" fmla="*/ -10038 h 9619"/>
                    <a:gd name="T16" fmla="+- 0 19547 19547"/>
                    <a:gd name="T17" fmla="*/ T16 w 3588"/>
                    <a:gd name="T18" fmla="+- 0 -419 -10038"/>
                    <a:gd name="T19" fmla="*/ -419 h 9619"/>
                  </a:gdLst>
                  <a:ahLst/>
                  <a:cxnLst>
                    <a:cxn ang="0">
                      <a:pos x="T1" y="T3"/>
                    </a:cxn>
                    <a:cxn ang="0">
                      <a:pos x="T5" y="T7"/>
                    </a:cxn>
                    <a:cxn ang="0">
                      <a:pos x="T9" y="T11"/>
                    </a:cxn>
                    <a:cxn ang="0">
                      <a:pos x="T13" y="T15"/>
                    </a:cxn>
                    <a:cxn ang="0">
                      <a:pos x="T17" y="T19"/>
                    </a:cxn>
                  </a:cxnLst>
                  <a:rect l="0" t="0" r="r" b="b"/>
                  <a:pathLst>
                    <a:path w="3588" h="9619">
                      <a:moveTo>
                        <a:pt x="0" y="9619"/>
                      </a:moveTo>
                      <a:lnTo>
                        <a:pt x="3588" y="9619"/>
                      </a:lnTo>
                      <a:lnTo>
                        <a:pt x="3588" y="0"/>
                      </a:lnTo>
                      <a:lnTo>
                        <a:pt x="0" y="0"/>
                      </a:lnTo>
                      <a:lnTo>
                        <a:pt x="0" y="9619"/>
                      </a:ln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76" name="Group 97"/>
              <p:cNvGrpSpPr>
                <a:grpSpLocks/>
              </p:cNvGrpSpPr>
              <p:nvPr/>
            </p:nvGrpSpPr>
            <p:grpSpPr bwMode="gray">
              <a:xfrm>
                <a:off x="19547" y="-10038"/>
                <a:ext cx="3588" cy="9619"/>
                <a:chOff x="19547" y="-10038"/>
                <a:chExt cx="3588" cy="9619"/>
              </a:xfrm>
            </p:grpSpPr>
            <p:sp>
              <p:nvSpPr>
                <p:cNvPr id="115" name="Freeform 98"/>
                <p:cNvSpPr>
                  <a:spLocks/>
                </p:cNvSpPr>
                <p:nvPr/>
              </p:nvSpPr>
              <p:spPr bwMode="gray">
                <a:xfrm>
                  <a:off x="19547" y="-10038"/>
                  <a:ext cx="3588" cy="9619"/>
                </a:xfrm>
                <a:custGeom>
                  <a:avLst/>
                  <a:gdLst>
                    <a:gd name="T0" fmla="+- 0 19547 19547"/>
                    <a:gd name="T1" fmla="*/ T0 w 3588"/>
                    <a:gd name="T2" fmla="+- 0 -419 -10038"/>
                    <a:gd name="T3" fmla="*/ -419 h 9619"/>
                    <a:gd name="T4" fmla="+- 0 23135 19547"/>
                    <a:gd name="T5" fmla="*/ T4 w 3588"/>
                    <a:gd name="T6" fmla="+- 0 -419 -10038"/>
                    <a:gd name="T7" fmla="*/ -419 h 9619"/>
                    <a:gd name="T8" fmla="+- 0 23135 19547"/>
                    <a:gd name="T9" fmla="*/ T8 w 3588"/>
                    <a:gd name="T10" fmla="+- 0 -10038 -10038"/>
                    <a:gd name="T11" fmla="*/ -10038 h 9619"/>
                    <a:gd name="T12" fmla="+- 0 19547 19547"/>
                    <a:gd name="T13" fmla="*/ T12 w 3588"/>
                    <a:gd name="T14" fmla="+- 0 -10038 -10038"/>
                    <a:gd name="T15" fmla="*/ -10038 h 9619"/>
                    <a:gd name="T16" fmla="+- 0 19547 19547"/>
                    <a:gd name="T17" fmla="*/ T16 w 3588"/>
                    <a:gd name="T18" fmla="+- 0 -419 -10038"/>
                    <a:gd name="T19" fmla="*/ -419 h 9619"/>
                  </a:gdLst>
                  <a:ahLst/>
                  <a:cxnLst>
                    <a:cxn ang="0">
                      <a:pos x="T1" y="T3"/>
                    </a:cxn>
                    <a:cxn ang="0">
                      <a:pos x="T5" y="T7"/>
                    </a:cxn>
                    <a:cxn ang="0">
                      <a:pos x="T9" y="T11"/>
                    </a:cxn>
                    <a:cxn ang="0">
                      <a:pos x="T13" y="T15"/>
                    </a:cxn>
                    <a:cxn ang="0">
                      <a:pos x="T17" y="T19"/>
                    </a:cxn>
                  </a:cxnLst>
                  <a:rect l="0" t="0" r="r" b="b"/>
                  <a:pathLst>
                    <a:path w="3588" h="9619">
                      <a:moveTo>
                        <a:pt x="0" y="9619"/>
                      </a:moveTo>
                      <a:lnTo>
                        <a:pt x="3588" y="9619"/>
                      </a:lnTo>
                      <a:lnTo>
                        <a:pt x="3588" y="0"/>
                      </a:lnTo>
                      <a:lnTo>
                        <a:pt x="0" y="0"/>
                      </a:lnTo>
                      <a:lnTo>
                        <a:pt x="0" y="9619"/>
                      </a:lnTo>
                      <a:close/>
                    </a:path>
                  </a:pathLst>
                </a:custGeom>
                <a:noFill/>
                <a:ln w="25908">
                  <a:solidFill>
                    <a:srgbClr val="385D89"/>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77" name="Group 99"/>
              <p:cNvGrpSpPr>
                <a:grpSpLocks/>
              </p:cNvGrpSpPr>
              <p:nvPr/>
            </p:nvGrpSpPr>
            <p:grpSpPr bwMode="gray">
              <a:xfrm>
                <a:off x="20022" y="-9436"/>
                <a:ext cx="2515" cy="799"/>
                <a:chOff x="20022" y="-9436"/>
                <a:chExt cx="2515" cy="799"/>
              </a:xfrm>
            </p:grpSpPr>
            <p:sp>
              <p:nvSpPr>
                <p:cNvPr id="114" name="Freeform 100"/>
                <p:cNvSpPr>
                  <a:spLocks/>
                </p:cNvSpPr>
                <p:nvPr/>
              </p:nvSpPr>
              <p:spPr bwMode="gray">
                <a:xfrm>
                  <a:off x="20022" y="-9436"/>
                  <a:ext cx="2515" cy="799"/>
                </a:xfrm>
                <a:custGeom>
                  <a:avLst/>
                  <a:gdLst>
                    <a:gd name="T0" fmla="+- 0 20022 20022"/>
                    <a:gd name="T1" fmla="*/ T0 w 2515"/>
                    <a:gd name="T2" fmla="+- 0 -8636 -9436"/>
                    <a:gd name="T3" fmla="*/ -8636 h 799"/>
                    <a:gd name="T4" fmla="+- 0 22537 20022"/>
                    <a:gd name="T5" fmla="*/ T4 w 2515"/>
                    <a:gd name="T6" fmla="+- 0 -8636 -9436"/>
                    <a:gd name="T7" fmla="*/ -8636 h 799"/>
                    <a:gd name="T8" fmla="+- 0 22537 20022"/>
                    <a:gd name="T9" fmla="*/ T8 w 2515"/>
                    <a:gd name="T10" fmla="+- 0 -9436 -9436"/>
                    <a:gd name="T11" fmla="*/ -9436 h 799"/>
                    <a:gd name="T12" fmla="+- 0 20022 20022"/>
                    <a:gd name="T13" fmla="*/ T12 w 2515"/>
                    <a:gd name="T14" fmla="+- 0 -9436 -9436"/>
                    <a:gd name="T15" fmla="*/ -9436 h 799"/>
                    <a:gd name="T16" fmla="+- 0 20022 20022"/>
                    <a:gd name="T17" fmla="*/ T16 w 2515"/>
                    <a:gd name="T18" fmla="+- 0 -8636 -9436"/>
                    <a:gd name="T19" fmla="*/ -8636 h 799"/>
                  </a:gdLst>
                  <a:ahLst/>
                  <a:cxnLst>
                    <a:cxn ang="0">
                      <a:pos x="T1" y="T3"/>
                    </a:cxn>
                    <a:cxn ang="0">
                      <a:pos x="T5" y="T7"/>
                    </a:cxn>
                    <a:cxn ang="0">
                      <a:pos x="T9" y="T11"/>
                    </a:cxn>
                    <a:cxn ang="0">
                      <a:pos x="T13" y="T15"/>
                    </a:cxn>
                    <a:cxn ang="0">
                      <a:pos x="T17" y="T19"/>
                    </a:cxn>
                  </a:cxnLst>
                  <a:rect l="0" t="0" r="r" b="b"/>
                  <a:pathLst>
                    <a:path w="2515" h="799">
                      <a:moveTo>
                        <a:pt x="0" y="800"/>
                      </a:moveTo>
                      <a:lnTo>
                        <a:pt x="2515" y="800"/>
                      </a:lnTo>
                      <a:lnTo>
                        <a:pt x="2515" y="0"/>
                      </a:lnTo>
                      <a:lnTo>
                        <a:pt x="0" y="0"/>
                      </a:lnTo>
                      <a:lnTo>
                        <a:pt x="0" y="80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78" name="Group 101"/>
              <p:cNvGrpSpPr>
                <a:grpSpLocks/>
              </p:cNvGrpSpPr>
              <p:nvPr/>
            </p:nvGrpSpPr>
            <p:grpSpPr bwMode="gray">
              <a:xfrm>
                <a:off x="20022" y="-9436"/>
                <a:ext cx="2515" cy="799"/>
                <a:chOff x="20022" y="-9436"/>
                <a:chExt cx="2515" cy="799"/>
              </a:xfrm>
            </p:grpSpPr>
            <p:sp>
              <p:nvSpPr>
                <p:cNvPr id="113" name="Freeform 102"/>
                <p:cNvSpPr>
                  <a:spLocks/>
                </p:cNvSpPr>
                <p:nvPr/>
              </p:nvSpPr>
              <p:spPr bwMode="gray">
                <a:xfrm>
                  <a:off x="20022" y="-9436"/>
                  <a:ext cx="2515" cy="799"/>
                </a:xfrm>
                <a:custGeom>
                  <a:avLst/>
                  <a:gdLst>
                    <a:gd name="T0" fmla="+- 0 20022 20022"/>
                    <a:gd name="T1" fmla="*/ T0 w 2515"/>
                    <a:gd name="T2" fmla="+- 0 -8636 -9436"/>
                    <a:gd name="T3" fmla="*/ -8636 h 799"/>
                    <a:gd name="T4" fmla="+- 0 22537 20022"/>
                    <a:gd name="T5" fmla="*/ T4 w 2515"/>
                    <a:gd name="T6" fmla="+- 0 -8636 -9436"/>
                    <a:gd name="T7" fmla="*/ -8636 h 799"/>
                    <a:gd name="T8" fmla="+- 0 22537 20022"/>
                    <a:gd name="T9" fmla="*/ T8 w 2515"/>
                    <a:gd name="T10" fmla="+- 0 -9436 -9436"/>
                    <a:gd name="T11" fmla="*/ -9436 h 799"/>
                    <a:gd name="T12" fmla="+- 0 20022 20022"/>
                    <a:gd name="T13" fmla="*/ T12 w 2515"/>
                    <a:gd name="T14" fmla="+- 0 -9436 -9436"/>
                    <a:gd name="T15" fmla="*/ -9436 h 799"/>
                    <a:gd name="T16" fmla="+- 0 20022 20022"/>
                    <a:gd name="T17" fmla="*/ T16 w 2515"/>
                    <a:gd name="T18" fmla="+- 0 -8636 -9436"/>
                    <a:gd name="T19" fmla="*/ -8636 h 799"/>
                  </a:gdLst>
                  <a:ahLst/>
                  <a:cxnLst>
                    <a:cxn ang="0">
                      <a:pos x="T1" y="T3"/>
                    </a:cxn>
                    <a:cxn ang="0">
                      <a:pos x="T5" y="T7"/>
                    </a:cxn>
                    <a:cxn ang="0">
                      <a:pos x="T9" y="T11"/>
                    </a:cxn>
                    <a:cxn ang="0">
                      <a:pos x="T13" y="T15"/>
                    </a:cxn>
                    <a:cxn ang="0">
                      <a:pos x="T17" y="T19"/>
                    </a:cxn>
                  </a:cxnLst>
                  <a:rect l="0" t="0" r="r" b="b"/>
                  <a:pathLst>
                    <a:path w="2515" h="799">
                      <a:moveTo>
                        <a:pt x="0" y="800"/>
                      </a:moveTo>
                      <a:lnTo>
                        <a:pt x="2515" y="800"/>
                      </a:lnTo>
                      <a:lnTo>
                        <a:pt x="2515" y="0"/>
                      </a:lnTo>
                      <a:lnTo>
                        <a:pt x="0" y="0"/>
                      </a:lnTo>
                      <a:lnTo>
                        <a:pt x="0" y="800"/>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79" name="Group 103"/>
              <p:cNvGrpSpPr>
                <a:grpSpLocks/>
              </p:cNvGrpSpPr>
              <p:nvPr/>
            </p:nvGrpSpPr>
            <p:grpSpPr bwMode="gray">
              <a:xfrm>
                <a:off x="20022" y="-8365"/>
                <a:ext cx="2515" cy="799"/>
                <a:chOff x="20022" y="-8365"/>
                <a:chExt cx="2515" cy="799"/>
              </a:xfrm>
            </p:grpSpPr>
            <p:sp>
              <p:nvSpPr>
                <p:cNvPr id="112" name="Freeform 104"/>
                <p:cNvSpPr>
                  <a:spLocks/>
                </p:cNvSpPr>
                <p:nvPr/>
              </p:nvSpPr>
              <p:spPr bwMode="gray">
                <a:xfrm>
                  <a:off x="20022" y="-8365"/>
                  <a:ext cx="2515" cy="799"/>
                </a:xfrm>
                <a:custGeom>
                  <a:avLst/>
                  <a:gdLst>
                    <a:gd name="T0" fmla="+- 0 20022 20022"/>
                    <a:gd name="T1" fmla="*/ T0 w 2515"/>
                    <a:gd name="T2" fmla="+- 0 -7566 -8365"/>
                    <a:gd name="T3" fmla="*/ -7566 h 799"/>
                    <a:gd name="T4" fmla="+- 0 22537 20022"/>
                    <a:gd name="T5" fmla="*/ T4 w 2515"/>
                    <a:gd name="T6" fmla="+- 0 -7566 -8365"/>
                    <a:gd name="T7" fmla="*/ -7566 h 799"/>
                    <a:gd name="T8" fmla="+- 0 22537 20022"/>
                    <a:gd name="T9" fmla="*/ T8 w 2515"/>
                    <a:gd name="T10" fmla="+- 0 -8365 -8365"/>
                    <a:gd name="T11" fmla="*/ -8365 h 799"/>
                    <a:gd name="T12" fmla="+- 0 20022 20022"/>
                    <a:gd name="T13" fmla="*/ T12 w 2515"/>
                    <a:gd name="T14" fmla="+- 0 -8365 -8365"/>
                    <a:gd name="T15" fmla="*/ -8365 h 799"/>
                    <a:gd name="T16" fmla="+- 0 20022 20022"/>
                    <a:gd name="T17" fmla="*/ T16 w 2515"/>
                    <a:gd name="T18" fmla="+- 0 -7566 -8365"/>
                    <a:gd name="T19" fmla="*/ -7566 h 799"/>
                  </a:gdLst>
                  <a:ahLst/>
                  <a:cxnLst>
                    <a:cxn ang="0">
                      <a:pos x="T1" y="T3"/>
                    </a:cxn>
                    <a:cxn ang="0">
                      <a:pos x="T5" y="T7"/>
                    </a:cxn>
                    <a:cxn ang="0">
                      <a:pos x="T9" y="T11"/>
                    </a:cxn>
                    <a:cxn ang="0">
                      <a:pos x="T13" y="T15"/>
                    </a:cxn>
                    <a:cxn ang="0">
                      <a:pos x="T17" y="T19"/>
                    </a:cxn>
                  </a:cxnLst>
                  <a:rect l="0" t="0" r="r" b="b"/>
                  <a:pathLst>
                    <a:path w="2515" h="799">
                      <a:moveTo>
                        <a:pt x="0" y="799"/>
                      </a:moveTo>
                      <a:lnTo>
                        <a:pt x="2515" y="799"/>
                      </a:lnTo>
                      <a:lnTo>
                        <a:pt x="2515"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80" name="Group 105"/>
              <p:cNvGrpSpPr>
                <a:grpSpLocks/>
              </p:cNvGrpSpPr>
              <p:nvPr/>
            </p:nvGrpSpPr>
            <p:grpSpPr bwMode="gray">
              <a:xfrm>
                <a:off x="20022" y="-8365"/>
                <a:ext cx="2515" cy="799"/>
                <a:chOff x="20022" y="-8365"/>
                <a:chExt cx="2515" cy="799"/>
              </a:xfrm>
            </p:grpSpPr>
            <p:sp>
              <p:nvSpPr>
                <p:cNvPr id="111" name="Freeform 106"/>
                <p:cNvSpPr>
                  <a:spLocks/>
                </p:cNvSpPr>
                <p:nvPr/>
              </p:nvSpPr>
              <p:spPr bwMode="gray">
                <a:xfrm>
                  <a:off x="20022" y="-8365"/>
                  <a:ext cx="2515" cy="799"/>
                </a:xfrm>
                <a:custGeom>
                  <a:avLst/>
                  <a:gdLst>
                    <a:gd name="T0" fmla="+- 0 20022 20022"/>
                    <a:gd name="T1" fmla="*/ T0 w 2515"/>
                    <a:gd name="T2" fmla="+- 0 -7566 -8365"/>
                    <a:gd name="T3" fmla="*/ -7566 h 799"/>
                    <a:gd name="T4" fmla="+- 0 22537 20022"/>
                    <a:gd name="T5" fmla="*/ T4 w 2515"/>
                    <a:gd name="T6" fmla="+- 0 -7566 -8365"/>
                    <a:gd name="T7" fmla="*/ -7566 h 799"/>
                    <a:gd name="T8" fmla="+- 0 22537 20022"/>
                    <a:gd name="T9" fmla="*/ T8 w 2515"/>
                    <a:gd name="T10" fmla="+- 0 -8365 -8365"/>
                    <a:gd name="T11" fmla="*/ -8365 h 799"/>
                    <a:gd name="T12" fmla="+- 0 20022 20022"/>
                    <a:gd name="T13" fmla="*/ T12 w 2515"/>
                    <a:gd name="T14" fmla="+- 0 -8365 -8365"/>
                    <a:gd name="T15" fmla="*/ -8365 h 799"/>
                    <a:gd name="T16" fmla="+- 0 20022 20022"/>
                    <a:gd name="T17" fmla="*/ T16 w 2515"/>
                    <a:gd name="T18" fmla="+- 0 -7566 -8365"/>
                    <a:gd name="T19" fmla="*/ -7566 h 799"/>
                  </a:gdLst>
                  <a:ahLst/>
                  <a:cxnLst>
                    <a:cxn ang="0">
                      <a:pos x="T1" y="T3"/>
                    </a:cxn>
                    <a:cxn ang="0">
                      <a:pos x="T5" y="T7"/>
                    </a:cxn>
                    <a:cxn ang="0">
                      <a:pos x="T9" y="T11"/>
                    </a:cxn>
                    <a:cxn ang="0">
                      <a:pos x="T13" y="T15"/>
                    </a:cxn>
                    <a:cxn ang="0">
                      <a:pos x="T17" y="T19"/>
                    </a:cxn>
                  </a:cxnLst>
                  <a:rect l="0" t="0" r="r" b="b"/>
                  <a:pathLst>
                    <a:path w="2515" h="799">
                      <a:moveTo>
                        <a:pt x="0" y="799"/>
                      </a:moveTo>
                      <a:lnTo>
                        <a:pt x="2515" y="799"/>
                      </a:lnTo>
                      <a:lnTo>
                        <a:pt x="2515"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81" name="Group 107"/>
              <p:cNvGrpSpPr>
                <a:grpSpLocks/>
              </p:cNvGrpSpPr>
              <p:nvPr/>
            </p:nvGrpSpPr>
            <p:grpSpPr bwMode="gray">
              <a:xfrm>
                <a:off x="20022" y="-7295"/>
                <a:ext cx="2515" cy="799"/>
                <a:chOff x="20022" y="-7295"/>
                <a:chExt cx="2515" cy="799"/>
              </a:xfrm>
            </p:grpSpPr>
            <p:sp>
              <p:nvSpPr>
                <p:cNvPr id="110" name="Freeform 108"/>
                <p:cNvSpPr>
                  <a:spLocks/>
                </p:cNvSpPr>
                <p:nvPr/>
              </p:nvSpPr>
              <p:spPr bwMode="gray">
                <a:xfrm>
                  <a:off x="20022" y="-7295"/>
                  <a:ext cx="2515" cy="799"/>
                </a:xfrm>
                <a:custGeom>
                  <a:avLst/>
                  <a:gdLst>
                    <a:gd name="T0" fmla="+- 0 20022 20022"/>
                    <a:gd name="T1" fmla="*/ T0 w 2515"/>
                    <a:gd name="T2" fmla="+- 0 -6496 -7295"/>
                    <a:gd name="T3" fmla="*/ -6496 h 799"/>
                    <a:gd name="T4" fmla="+- 0 22537 20022"/>
                    <a:gd name="T5" fmla="*/ T4 w 2515"/>
                    <a:gd name="T6" fmla="+- 0 -6496 -7295"/>
                    <a:gd name="T7" fmla="*/ -6496 h 799"/>
                    <a:gd name="T8" fmla="+- 0 22537 20022"/>
                    <a:gd name="T9" fmla="*/ T8 w 2515"/>
                    <a:gd name="T10" fmla="+- 0 -7295 -7295"/>
                    <a:gd name="T11" fmla="*/ -7295 h 799"/>
                    <a:gd name="T12" fmla="+- 0 20022 20022"/>
                    <a:gd name="T13" fmla="*/ T12 w 2515"/>
                    <a:gd name="T14" fmla="+- 0 -7295 -7295"/>
                    <a:gd name="T15" fmla="*/ -7295 h 799"/>
                    <a:gd name="T16" fmla="+- 0 20022 20022"/>
                    <a:gd name="T17" fmla="*/ T16 w 2515"/>
                    <a:gd name="T18" fmla="+- 0 -6496 -7295"/>
                    <a:gd name="T19" fmla="*/ -6496 h 799"/>
                  </a:gdLst>
                  <a:ahLst/>
                  <a:cxnLst>
                    <a:cxn ang="0">
                      <a:pos x="T1" y="T3"/>
                    </a:cxn>
                    <a:cxn ang="0">
                      <a:pos x="T5" y="T7"/>
                    </a:cxn>
                    <a:cxn ang="0">
                      <a:pos x="T9" y="T11"/>
                    </a:cxn>
                    <a:cxn ang="0">
                      <a:pos x="T13" y="T15"/>
                    </a:cxn>
                    <a:cxn ang="0">
                      <a:pos x="T17" y="T19"/>
                    </a:cxn>
                  </a:cxnLst>
                  <a:rect l="0" t="0" r="r" b="b"/>
                  <a:pathLst>
                    <a:path w="2515" h="799">
                      <a:moveTo>
                        <a:pt x="0" y="799"/>
                      </a:moveTo>
                      <a:lnTo>
                        <a:pt x="2515" y="799"/>
                      </a:lnTo>
                      <a:lnTo>
                        <a:pt x="2515"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82" name="Group 109"/>
              <p:cNvGrpSpPr>
                <a:grpSpLocks/>
              </p:cNvGrpSpPr>
              <p:nvPr/>
            </p:nvGrpSpPr>
            <p:grpSpPr bwMode="gray">
              <a:xfrm>
                <a:off x="20022" y="-7295"/>
                <a:ext cx="2515" cy="799"/>
                <a:chOff x="20022" y="-7295"/>
                <a:chExt cx="2515" cy="799"/>
              </a:xfrm>
            </p:grpSpPr>
            <p:sp>
              <p:nvSpPr>
                <p:cNvPr id="109" name="Freeform 110"/>
                <p:cNvSpPr>
                  <a:spLocks/>
                </p:cNvSpPr>
                <p:nvPr/>
              </p:nvSpPr>
              <p:spPr bwMode="gray">
                <a:xfrm>
                  <a:off x="20022" y="-7295"/>
                  <a:ext cx="2515" cy="799"/>
                </a:xfrm>
                <a:custGeom>
                  <a:avLst/>
                  <a:gdLst>
                    <a:gd name="T0" fmla="+- 0 20022 20022"/>
                    <a:gd name="T1" fmla="*/ T0 w 2515"/>
                    <a:gd name="T2" fmla="+- 0 -6496 -7295"/>
                    <a:gd name="T3" fmla="*/ -6496 h 799"/>
                    <a:gd name="T4" fmla="+- 0 22537 20022"/>
                    <a:gd name="T5" fmla="*/ T4 w 2515"/>
                    <a:gd name="T6" fmla="+- 0 -6496 -7295"/>
                    <a:gd name="T7" fmla="*/ -6496 h 799"/>
                    <a:gd name="T8" fmla="+- 0 22537 20022"/>
                    <a:gd name="T9" fmla="*/ T8 w 2515"/>
                    <a:gd name="T10" fmla="+- 0 -7295 -7295"/>
                    <a:gd name="T11" fmla="*/ -7295 h 799"/>
                    <a:gd name="T12" fmla="+- 0 20022 20022"/>
                    <a:gd name="T13" fmla="*/ T12 w 2515"/>
                    <a:gd name="T14" fmla="+- 0 -7295 -7295"/>
                    <a:gd name="T15" fmla="*/ -7295 h 799"/>
                    <a:gd name="T16" fmla="+- 0 20022 20022"/>
                    <a:gd name="T17" fmla="*/ T16 w 2515"/>
                    <a:gd name="T18" fmla="+- 0 -6496 -7295"/>
                    <a:gd name="T19" fmla="*/ -6496 h 799"/>
                  </a:gdLst>
                  <a:ahLst/>
                  <a:cxnLst>
                    <a:cxn ang="0">
                      <a:pos x="T1" y="T3"/>
                    </a:cxn>
                    <a:cxn ang="0">
                      <a:pos x="T5" y="T7"/>
                    </a:cxn>
                    <a:cxn ang="0">
                      <a:pos x="T9" y="T11"/>
                    </a:cxn>
                    <a:cxn ang="0">
                      <a:pos x="T13" y="T15"/>
                    </a:cxn>
                    <a:cxn ang="0">
                      <a:pos x="T17" y="T19"/>
                    </a:cxn>
                  </a:cxnLst>
                  <a:rect l="0" t="0" r="r" b="b"/>
                  <a:pathLst>
                    <a:path w="2515" h="799">
                      <a:moveTo>
                        <a:pt x="0" y="799"/>
                      </a:moveTo>
                      <a:lnTo>
                        <a:pt x="2515" y="799"/>
                      </a:lnTo>
                      <a:lnTo>
                        <a:pt x="2515"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83" name="Group 111"/>
              <p:cNvGrpSpPr>
                <a:grpSpLocks/>
              </p:cNvGrpSpPr>
              <p:nvPr/>
            </p:nvGrpSpPr>
            <p:grpSpPr bwMode="gray">
              <a:xfrm>
                <a:off x="20022" y="-6227"/>
                <a:ext cx="2515" cy="799"/>
                <a:chOff x="20022" y="-6227"/>
                <a:chExt cx="2515" cy="799"/>
              </a:xfrm>
            </p:grpSpPr>
            <p:sp>
              <p:nvSpPr>
                <p:cNvPr id="108" name="Freeform 112"/>
                <p:cNvSpPr>
                  <a:spLocks/>
                </p:cNvSpPr>
                <p:nvPr/>
              </p:nvSpPr>
              <p:spPr bwMode="gray">
                <a:xfrm>
                  <a:off x="20022" y="-6227"/>
                  <a:ext cx="2515" cy="799"/>
                </a:xfrm>
                <a:custGeom>
                  <a:avLst/>
                  <a:gdLst>
                    <a:gd name="T0" fmla="+- 0 20022 20022"/>
                    <a:gd name="T1" fmla="*/ T0 w 2515"/>
                    <a:gd name="T2" fmla="+- 0 -5428 -6227"/>
                    <a:gd name="T3" fmla="*/ -5428 h 799"/>
                    <a:gd name="T4" fmla="+- 0 22537 20022"/>
                    <a:gd name="T5" fmla="*/ T4 w 2515"/>
                    <a:gd name="T6" fmla="+- 0 -5428 -6227"/>
                    <a:gd name="T7" fmla="*/ -5428 h 799"/>
                    <a:gd name="T8" fmla="+- 0 22537 20022"/>
                    <a:gd name="T9" fmla="*/ T8 w 2515"/>
                    <a:gd name="T10" fmla="+- 0 -6227 -6227"/>
                    <a:gd name="T11" fmla="*/ -6227 h 799"/>
                    <a:gd name="T12" fmla="+- 0 20022 20022"/>
                    <a:gd name="T13" fmla="*/ T12 w 2515"/>
                    <a:gd name="T14" fmla="+- 0 -6227 -6227"/>
                    <a:gd name="T15" fmla="*/ -6227 h 799"/>
                    <a:gd name="T16" fmla="+- 0 20022 20022"/>
                    <a:gd name="T17" fmla="*/ T16 w 2515"/>
                    <a:gd name="T18" fmla="+- 0 -5428 -6227"/>
                    <a:gd name="T19" fmla="*/ -5428 h 799"/>
                  </a:gdLst>
                  <a:ahLst/>
                  <a:cxnLst>
                    <a:cxn ang="0">
                      <a:pos x="T1" y="T3"/>
                    </a:cxn>
                    <a:cxn ang="0">
                      <a:pos x="T5" y="T7"/>
                    </a:cxn>
                    <a:cxn ang="0">
                      <a:pos x="T9" y="T11"/>
                    </a:cxn>
                    <a:cxn ang="0">
                      <a:pos x="T13" y="T15"/>
                    </a:cxn>
                    <a:cxn ang="0">
                      <a:pos x="T17" y="T19"/>
                    </a:cxn>
                  </a:cxnLst>
                  <a:rect l="0" t="0" r="r" b="b"/>
                  <a:pathLst>
                    <a:path w="2515" h="799">
                      <a:moveTo>
                        <a:pt x="0" y="799"/>
                      </a:moveTo>
                      <a:lnTo>
                        <a:pt x="2515" y="799"/>
                      </a:lnTo>
                      <a:lnTo>
                        <a:pt x="2515"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84" name="Group 113"/>
              <p:cNvGrpSpPr>
                <a:grpSpLocks/>
              </p:cNvGrpSpPr>
              <p:nvPr/>
            </p:nvGrpSpPr>
            <p:grpSpPr bwMode="gray">
              <a:xfrm>
                <a:off x="20022" y="-6227"/>
                <a:ext cx="2515" cy="799"/>
                <a:chOff x="20022" y="-6227"/>
                <a:chExt cx="2515" cy="799"/>
              </a:xfrm>
            </p:grpSpPr>
            <p:sp>
              <p:nvSpPr>
                <p:cNvPr id="107" name="Freeform 114"/>
                <p:cNvSpPr>
                  <a:spLocks/>
                </p:cNvSpPr>
                <p:nvPr/>
              </p:nvSpPr>
              <p:spPr bwMode="gray">
                <a:xfrm>
                  <a:off x="20022" y="-6227"/>
                  <a:ext cx="2515" cy="799"/>
                </a:xfrm>
                <a:custGeom>
                  <a:avLst/>
                  <a:gdLst>
                    <a:gd name="T0" fmla="+- 0 20022 20022"/>
                    <a:gd name="T1" fmla="*/ T0 w 2515"/>
                    <a:gd name="T2" fmla="+- 0 -5428 -6227"/>
                    <a:gd name="T3" fmla="*/ -5428 h 799"/>
                    <a:gd name="T4" fmla="+- 0 22537 20022"/>
                    <a:gd name="T5" fmla="*/ T4 w 2515"/>
                    <a:gd name="T6" fmla="+- 0 -5428 -6227"/>
                    <a:gd name="T7" fmla="*/ -5428 h 799"/>
                    <a:gd name="T8" fmla="+- 0 22537 20022"/>
                    <a:gd name="T9" fmla="*/ T8 w 2515"/>
                    <a:gd name="T10" fmla="+- 0 -6227 -6227"/>
                    <a:gd name="T11" fmla="*/ -6227 h 799"/>
                    <a:gd name="T12" fmla="+- 0 20022 20022"/>
                    <a:gd name="T13" fmla="*/ T12 w 2515"/>
                    <a:gd name="T14" fmla="+- 0 -6227 -6227"/>
                    <a:gd name="T15" fmla="*/ -6227 h 799"/>
                    <a:gd name="T16" fmla="+- 0 20022 20022"/>
                    <a:gd name="T17" fmla="*/ T16 w 2515"/>
                    <a:gd name="T18" fmla="+- 0 -5428 -6227"/>
                    <a:gd name="T19" fmla="*/ -5428 h 799"/>
                  </a:gdLst>
                  <a:ahLst/>
                  <a:cxnLst>
                    <a:cxn ang="0">
                      <a:pos x="T1" y="T3"/>
                    </a:cxn>
                    <a:cxn ang="0">
                      <a:pos x="T5" y="T7"/>
                    </a:cxn>
                    <a:cxn ang="0">
                      <a:pos x="T9" y="T11"/>
                    </a:cxn>
                    <a:cxn ang="0">
                      <a:pos x="T13" y="T15"/>
                    </a:cxn>
                    <a:cxn ang="0">
                      <a:pos x="T17" y="T19"/>
                    </a:cxn>
                  </a:cxnLst>
                  <a:rect l="0" t="0" r="r" b="b"/>
                  <a:pathLst>
                    <a:path w="2515" h="799">
                      <a:moveTo>
                        <a:pt x="0" y="799"/>
                      </a:moveTo>
                      <a:lnTo>
                        <a:pt x="2515" y="799"/>
                      </a:lnTo>
                      <a:lnTo>
                        <a:pt x="2515"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85" name="Group 115"/>
              <p:cNvGrpSpPr>
                <a:grpSpLocks/>
              </p:cNvGrpSpPr>
              <p:nvPr/>
            </p:nvGrpSpPr>
            <p:grpSpPr bwMode="gray">
              <a:xfrm>
                <a:off x="20022" y="-5156"/>
                <a:ext cx="2515" cy="799"/>
                <a:chOff x="20022" y="-5156"/>
                <a:chExt cx="2515" cy="799"/>
              </a:xfrm>
            </p:grpSpPr>
            <p:sp>
              <p:nvSpPr>
                <p:cNvPr id="106" name="Freeform 116"/>
                <p:cNvSpPr>
                  <a:spLocks/>
                </p:cNvSpPr>
                <p:nvPr/>
              </p:nvSpPr>
              <p:spPr bwMode="gray">
                <a:xfrm>
                  <a:off x="20022" y="-5156"/>
                  <a:ext cx="2515" cy="799"/>
                </a:xfrm>
                <a:custGeom>
                  <a:avLst/>
                  <a:gdLst>
                    <a:gd name="T0" fmla="+- 0 20022 20022"/>
                    <a:gd name="T1" fmla="*/ T0 w 2515"/>
                    <a:gd name="T2" fmla="+- 0 -4357 -5156"/>
                    <a:gd name="T3" fmla="*/ -4357 h 799"/>
                    <a:gd name="T4" fmla="+- 0 22537 20022"/>
                    <a:gd name="T5" fmla="*/ T4 w 2515"/>
                    <a:gd name="T6" fmla="+- 0 -4357 -5156"/>
                    <a:gd name="T7" fmla="*/ -4357 h 799"/>
                    <a:gd name="T8" fmla="+- 0 22537 20022"/>
                    <a:gd name="T9" fmla="*/ T8 w 2515"/>
                    <a:gd name="T10" fmla="+- 0 -5156 -5156"/>
                    <a:gd name="T11" fmla="*/ -5156 h 799"/>
                    <a:gd name="T12" fmla="+- 0 20022 20022"/>
                    <a:gd name="T13" fmla="*/ T12 w 2515"/>
                    <a:gd name="T14" fmla="+- 0 -5156 -5156"/>
                    <a:gd name="T15" fmla="*/ -5156 h 799"/>
                    <a:gd name="T16" fmla="+- 0 20022 20022"/>
                    <a:gd name="T17" fmla="*/ T16 w 2515"/>
                    <a:gd name="T18" fmla="+- 0 -4357 -5156"/>
                    <a:gd name="T19" fmla="*/ -4357 h 799"/>
                  </a:gdLst>
                  <a:ahLst/>
                  <a:cxnLst>
                    <a:cxn ang="0">
                      <a:pos x="T1" y="T3"/>
                    </a:cxn>
                    <a:cxn ang="0">
                      <a:pos x="T5" y="T7"/>
                    </a:cxn>
                    <a:cxn ang="0">
                      <a:pos x="T9" y="T11"/>
                    </a:cxn>
                    <a:cxn ang="0">
                      <a:pos x="T13" y="T15"/>
                    </a:cxn>
                    <a:cxn ang="0">
                      <a:pos x="T17" y="T19"/>
                    </a:cxn>
                  </a:cxnLst>
                  <a:rect l="0" t="0" r="r" b="b"/>
                  <a:pathLst>
                    <a:path w="2515" h="799">
                      <a:moveTo>
                        <a:pt x="0" y="799"/>
                      </a:moveTo>
                      <a:lnTo>
                        <a:pt x="2515" y="799"/>
                      </a:lnTo>
                      <a:lnTo>
                        <a:pt x="2515"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86" name="Group 117"/>
              <p:cNvGrpSpPr>
                <a:grpSpLocks/>
              </p:cNvGrpSpPr>
              <p:nvPr/>
            </p:nvGrpSpPr>
            <p:grpSpPr bwMode="gray">
              <a:xfrm>
                <a:off x="20022" y="-5156"/>
                <a:ext cx="2515" cy="799"/>
                <a:chOff x="20022" y="-5156"/>
                <a:chExt cx="2515" cy="799"/>
              </a:xfrm>
            </p:grpSpPr>
            <p:sp>
              <p:nvSpPr>
                <p:cNvPr id="105" name="Freeform 118"/>
                <p:cNvSpPr>
                  <a:spLocks/>
                </p:cNvSpPr>
                <p:nvPr/>
              </p:nvSpPr>
              <p:spPr bwMode="gray">
                <a:xfrm>
                  <a:off x="20022" y="-5156"/>
                  <a:ext cx="2515" cy="799"/>
                </a:xfrm>
                <a:custGeom>
                  <a:avLst/>
                  <a:gdLst>
                    <a:gd name="T0" fmla="+- 0 20022 20022"/>
                    <a:gd name="T1" fmla="*/ T0 w 2515"/>
                    <a:gd name="T2" fmla="+- 0 -4357 -5156"/>
                    <a:gd name="T3" fmla="*/ -4357 h 799"/>
                    <a:gd name="T4" fmla="+- 0 22537 20022"/>
                    <a:gd name="T5" fmla="*/ T4 w 2515"/>
                    <a:gd name="T6" fmla="+- 0 -4357 -5156"/>
                    <a:gd name="T7" fmla="*/ -4357 h 799"/>
                    <a:gd name="T8" fmla="+- 0 22537 20022"/>
                    <a:gd name="T9" fmla="*/ T8 w 2515"/>
                    <a:gd name="T10" fmla="+- 0 -5156 -5156"/>
                    <a:gd name="T11" fmla="*/ -5156 h 799"/>
                    <a:gd name="T12" fmla="+- 0 20022 20022"/>
                    <a:gd name="T13" fmla="*/ T12 w 2515"/>
                    <a:gd name="T14" fmla="+- 0 -5156 -5156"/>
                    <a:gd name="T15" fmla="*/ -5156 h 799"/>
                    <a:gd name="T16" fmla="+- 0 20022 20022"/>
                    <a:gd name="T17" fmla="*/ T16 w 2515"/>
                    <a:gd name="T18" fmla="+- 0 -4357 -5156"/>
                    <a:gd name="T19" fmla="*/ -4357 h 799"/>
                  </a:gdLst>
                  <a:ahLst/>
                  <a:cxnLst>
                    <a:cxn ang="0">
                      <a:pos x="T1" y="T3"/>
                    </a:cxn>
                    <a:cxn ang="0">
                      <a:pos x="T5" y="T7"/>
                    </a:cxn>
                    <a:cxn ang="0">
                      <a:pos x="T9" y="T11"/>
                    </a:cxn>
                    <a:cxn ang="0">
                      <a:pos x="T13" y="T15"/>
                    </a:cxn>
                    <a:cxn ang="0">
                      <a:pos x="T17" y="T19"/>
                    </a:cxn>
                  </a:cxnLst>
                  <a:rect l="0" t="0" r="r" b="b"/>
                  <a:pathLst>
                    <a:path w="2515" h="799">
                      <a:moveTo>
                        <a:pt x="0" y="799"/>
                      </a:moveTo>
                      <a:lnTo>
                        <a:pt x="2515" y="799"/>
                      </a:lnTo>
                      <a:lnTo>
                        <a:pt x="2515"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87" name="Group 119"/>
              <p:cNvGrpSpPr>
                <a:grpSpLocks/>
              </p:cNvGrpSpPr>
              <p:nvPr/>
            </p:nvGrpSpPr>
            <p:grpSpPr bwMode="gray">
              <a:xfrm>
                <a:off x="20022" y="-4004"/>
                <a:ext cx="2515" cy="799"/>
                <a:chOff x="20022" y="-4004"/>
                <a:chExt cx="2515" cy="799"/>
              </a:xfrm>
            </p:grpSpPr>
            <p:sp>
              <p:nvSpPr>
                <p:cNvPr id="104" name="Freeform 120"/>
                <p:cNvSpPr>
                  <a:spLocks/>
                </p:cNvSpPr>
                <p:nvPr/>
              </p:nvSpPr>
              <p:spPr bwMode="gray">
                <a:xfrm>
                  <a:off x="20022" y="-4004"/>
                  <a:ext cx="2515" cy="799"/>
                </a:xfrm>
                <a:custGeom>
                  <a:avLst/>
                  <a:gdLst>
                    <a:gd name="T0" fmla="+- 0 20022 20022"/>
                    <a:gd name="T1" fmla="*/ T0 w 2515"/>
                    <a:gd name="T2" fmla="+- 0 -3205 -4004"/>
                    <a:gd name="T3" fmla="*/ -3205 h 799"/>
                    <a:gd name="T4" fmla="+- 0 22537 20022"/>
                    <a:gd name="T5" fmla="*/ T4 w 2515"/>
                    <a:gd name="T6" fmla="+- 0 -3205 -4004"/>
                    <a:gd name="T7" fmla="*/ -3205 h 799"/>
                    <a:gd name="T8" fmla="+- 0 22537 20022"/>
                    <a:gd name="T9" fmla="*/ T8 w 2515"/>
                    <a:gd name="T10" fmla="+- 0 -4004 -4004"/>
                    <a:gd name="T11" fmla="*/ -4004 h 799"/>
                    <a:gd name="T12" fmla="+- 0 20022 20022"/>
                    <a:gd name="T13" fmla="*/ T12 w 2515"/>
                    <a:gd name="T14" fmla="+- 0 -4004 -4004"/>
                    <a:gd name="T15" fmla="*/ -4004 h 799"/>
                    <a:gd name="T16" fmla="+- 0 20022 20022"/>
                    <a:gd name="T17" fmla="*/ T16 w 2515"/>
                    <a:gd name="T18" fmla="+- 0 -3205 -4004"/>
                    <a:gd name="T19" fmla="*/ -3205 h 799"/>
                  </a:gdLst>
                  <a:ahLst/>
                  <a:cxnLst>
                    <a:cxn ang="0">
                      <a:pos x="T1" y="T3"/>
                    </a:cxn>
                    <a:cxn ang="0">
                      <a:pos x="T5" y="T7"/>
                    </a:cxn>
                    <a:cxn ang="0">
                      <a:pos x="T9" y="T11"/>
                    </a:cxn>
                    <a:cxn ang="0">
                      <a:pos x="T13" y="T15"/>
                    </a:cxn>
                    <a:cxn ang="0">
                      <a:pos x="T17" y="T19"/>
                    </a:cxn>
                  </a:cxnLst>
                  <a:rect l="0" t="0" r="r" b="b"/>
                  <a:pathLst>
                    <a:path w="2515" h="799">
                      <a:moveTo>
                        <a:pt x="0" y="799"/>
                      </a:moveTo>
                      <a:lnTo>
                        <a:pt x="2515" y="799"/>
                      </a:lnTo>
                      <a:lnTo>
                        <a:pt x="2515"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88" name="Group 121"/>
              <p:cNvGrpSpPr>
                <a:grpSpLocks/>
              </p:cNvGrpSpPr>
              <p:nvPr/>
            </p:nvGrpSpPr>
            <p:grpSpPr bwMode="gray">
              <a:xfrm>
                <a:off x="20022" y="-4004"/>
                <a:ext cx="2515" cy="799"/>
                <a:chOff x="20022" y="-4004"/>
                <a:chExt cx="2515" cy="799"/>
              </a:xfrm>
            </p:grpSpPr>
            <p:sp>
              <p:nvSpPr>
                <p:cNvPr id="103" name="Freeform 122"/>
                <p:cNvSpPr>
                  <a:spLocks/>
                </p:cNvSpPr>
                <p:nvPr/>
              </p:nvSpPr>
              <p:spPr bwMode="gray">
                <a:xfrm>
                  <a:off x="20022" y="-4004"/>
                  <a:ext cx="2515" cy="799"/>
                </a:xfrm>
                <a:custGeom>
                  <a:avLst/>
                  <a:gdLst>
                    <a:gd name="T0" fmla="+- 0 20022 20022"/>
                    <a:gd name="T1" fmla="*/ T0 w 2515"/>
                    <a:gd name="T2" fmla="+- 0 -3205 -4004"/>
                    <a:gd name="T3" fmla="*/ -3205 h 799"/>
                    <a:gd name="T4" fmla="+- 0 22537 20022"/>
                    <a:gd name="T5" fmla="*/ T4 w 2515"/>
                    <a:gd name="T6" fmla="+- 0 -3205 -4004"/>
                    <a:gd name="T7" fmla="*/ -3205 h 799"/>
                    <a:gd name="T8" fmla="+- 0 22537 20022"/>
                    <a:gd name="T9" fmla="*/ T8 w 2515"/>
                    <a:gd name="T10" fmla="+- 0 -4004 -4004"/>
                    <a:gd name="T11" fmla="*/ -4004 h 799"/>
                    <a:gd name="T12" fmla="+- 0 20022 20022"/>
                    <a:gd name="T13" fmla="*/ T12 w 2515"/>
                    <a:gd name="T14" fmla="+- 0 -4004 -4004"/>
                    <a:gd name="T15" fmla="*/ -4004 h 799"/>
                    <a:gd name="T16" fmla="+- 0 20022 20022"/>
                    <a:gd name="T17" fmla="*/ T16 w 2515"/>
                    <a:gd name="T18" fmla="+- 0 -3205 -4004"/>
                    <a:gd name="T19" fmla="*/ -3205 h 799"/>
                  </a:gdLst>
                  <a:ahLst/>
                  <a:cxnLst>
                    <a:cxn ang="0">
                      <a:pos x="T1" y="T3"/>
                    </a:cxn>
                    <a:cxn ang="0">
                      <a:pos x="T5" y="T7"/>
                    </a:cxn>
                    <a:cxn ang="0">
                      <a:pos x="T9" y="T11"/>
                    </a:cxn>
                    <a:cxn ang="0">
                      <a:pos x="T13" y="T15"/>
                    </a:cxn>
                    <a:cxn ang="0">
                      <a:pos x="T17" y="T19"/>
                    </a:cxn>
                  </a:cxnLst>
                  <a:rect l="0" t="0" r="r" b="b"/>
                  <a:pathLst>
                    <a:path w="2515" h="799">
                      <a:moveTo>
                        <a:pt x="0" y="799"/>
                      </a:moveTo>
                      <a:lnTo>
                        <a:pt x="2515" y="799"/>
                      </a:lnTo>
                      <a:lnTo>
                        <a:pt x="2515"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89" name="Group 123"/>
              <p:cNvGrpSpPr>
                <a:grpSpLocks/>
              </p:cNvGrpSpPr>
              <p:nvPr/>
            </p:nvGrpSpPr>
            <p:grpSpPr bwMode="gray">
              <a:xfrm>
                <a:off x="20022" y="-2872"/>
                <a:ext cx="2515" cy="799"/>
                <a:chOff x="20022" y="-2872"/>
                <a:chExt cx="2515" cy="799"/>
              </a:xfrm>
            </p:grpSpPr>
            <p:sp>
              <p:nvSpPr>
                <p:cNvPr id="102" name="Freeform 124"/>
                <p:cNvSpPr>
                  <a:spLocks/>
                </p:cNvSpPr>
                <p:nvPr/>
              </p:nvSpPr>
              <p:spPr bwMode="gray">
                <a:xfrm>
                  <a:off x="20022" y="-2872"/>
                  <a:ext cx="2515" cy="799"/>
                </a:xfrm>
                <a:custGeom>
                  <a:avLst/>
                  <a:gdLst>
                    <a:gd name="T0" fmla="+- 0 20022 20022"/>
                    <a:gd name="T1" fmla="*/ T0 w 2515"/>
                    <a:gd name="T2" fmla="+- 0 -2072 -2872"/>
                    <a:gd name="T3" fmla="*/ -2072 h 799"/>
                    <a:gd name="T4" fmla="+- 0 22537 20022"/>
                    <a:gd name="T5" fmla="*/ T4 w 2515"/>
                    <a:gd name="T6" fmla="+- 0 -2072 -2872"/>
                    <a:gd name="T7" fmla="*/ -2072 h 799"/>
                    <a:gd name="T8" fmla="+- 0 22537 20022"/>
                    <a:gd name="T9" fmla="*/ T8 w 2515"/>
                    <a:gd name="T10" fmla="+- 0 -2872 -2872"/>
                    <a:gd name="T11" fmla="*/ -2872 h 799"/>
                    <a:gd name="T12" fmla="+- 0 20022 20022"/>
                    <a:gd name="T13" fmla="*/ T12 w 2515"/>
                    <a:gd name="T14" fmla="+- 0 -2872 -2872"/>
                    <a:gd name="T15" fmla="*/ -2872 h 799"/>
                    <a:gd name="T16" fmla="+- 0 20022 20022"/>
                    <a:gd name="T17" fmla="*/ T16 w 2515"/>
                    <a:gd name="T18" fmla="+- 0 -2072 -2872"/>
                    <a:gd name="T19" fmla="*/ -2072 h 799"/>
                  </a:gdLst>
                  <a:ahLst/>
                  <a:cxnLst>
                    <a:cxn ang="0">
                      <a:pos x="T1" y="T3"/>
                    </a:cxn>
                    <a:cxn ang="0">
                      <a:pos x="T5" y="T7"/>
                    </a:cxn>
                    <a:cxn ang="0">
                      <a:pos x="T9" y="T11"/>
                    </a:cxn>
                    <a:cxn ang="0">
                      <a:pos x="T13" y="T15"/>
                    </a:cxn>
                    <a:cxn ang="0">
                      <a:pos x="T17" y="T19"/>
                    </a:cxn>
                  </a:cxnLst>
                  <a:rect l="0" t="0" r="r" b="b"/>
                  <a:pathLst>
                    <a:path w="2515" h="799">
                      <a:moveTo>
                        <a:pt x="0" y="800"/>
                      </a:moveTo>
                      <a:lnTo>
                        <a:pt x="2515" y="800"/>
                      </a:lnTo>
                      <a:lnTo>
                        <a:pt x="2515" y="0"/>
                      </a:lnTo>
                      <a:lnTo>
                        <a:pt x="0" y="0"/>
                      </a:lnTo>
                      <a:lnTo>
                        <a:pt x="0" y="80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90" name="Group 125"/>
              <p:cNvGrpSpPr>
                <a:grpSpLocks/>
              </p:cNvGrpSpPr>
              <p:nvPr/>
            </p:nvGrpSpPr>
            <p:grpSpPr bwMode="gray">
              <a:xfrm>
                <a:off x="20022" y="-2872"/>
                <a:ext cx="2515" cy="799"/>
                <a:chOff x="20022" y="-2872"/>
                <a:chExt cx="2515" cy="799"/>
              </a:xfrm>
            </p:grpSpPr>
            <p:sp>
              <p:nvSpPr>
                <p:cNvPr id="101" name="Freeform 126"/>
                <p:cNvSpPr>
                  <a:spLocks/>
                </p:cNvSpPr>
                <p:nvPr/>
              </p:nvSpPr>
              <p:spPr bwMode="gray">
                <a:xfrm>
                  <a:off x="20022" y="-2872"/>
                  <a:ext cx="2515" cy="799"/>
                </a:xfrm>
                <a:custGeom>
                  <a:avLst/>
                  <a:gdLst>
                    <a:gd name="T0" fmla="+- 0 20022 20022"/>
                    <a:gd name="T1" fmla="*/ T0 w 2515"/>
                    <a:gd name="T2" fmla="+- 0 -2072 -2872"/>
                    <a:gd name="T3" fmla="*/ -2072 h 799"/>
                    <a:gd name="T4" fmla="+- 0 22537 20022"/>
                    <a:gd name="T5" fmla="*/ T4 w 2515"/>
                    <a:gd name="T6" fmla="+- 0 -2072 -2872"/>
                    <a:gd name="T7" fmla="*/ -2072 h 799"/>
                    <a:gd name="T8" fmla="+- 0 22537 20022"/>
                    <a:gd name="T9" fmla="*/ T8 w 2515"/>
                    <a:gd name="T10" fmla="+- 0 -2872 -2872"/>
                    <a:gd name="T11" fmla="*/ -2872 h 799"/>
                    <a:gd name="T12" fmla="+- 0 20022 20022"/>
                    <a:gd name="T13" fmla="*/ T12 w 2515"/>
                    <a:gd name="T14" fmla="+- 0 -2872 -2872"/>
                    <a:gd name="T15" fmla="*/ -2872 h 799"/>
                    <a:gd name="T16" fmla="+- 0 20022 20022"/>
                    <a:gd name="T17" fmla="*/ T16 w 2515"/>
                    <a:gd name="T18" fmla="+- 0 -2072 -2872"/>
                    <a:gd name="T19" fmla="*/ -2072 h 799"/>
                  </a:gdLst>
                  <a:ahLst/>
                  <a:cxnLst>
                    <a:cxn ang="0">
                      <a:pos x="T1" y="T3"/>
                    </a:cxn>
                    <a:cxn ang="0">
                      <a:pos x="T5" y="T7"/>
                    </a:cxn>
                    <a:cxn ang="0">
                      <a:pos x="T9" y="T11"/>
                    </a:cxn>
                    <a:cxn ang="0">
                      <a:pos x="T13" y="T15"/>
                    </a:cxn>
                    <a:cxn ang="0">
                      <a:pos x="T17" y="T19"/>
                    </a:cxn>
                  </a:cxnLst>
                  <a:rect l="0" t="0" r="r" b="b"/>
                  <a:pathLst>
                    <a:path w="2515" h="799">
                      <a:moveTo>
                        <a:pt x="0" y="800"/>
                      </a:moveTo>
                      <a:lnTo>
                        <a:pt x="2515" y="800"/>
                      </a:lnTo>
                      <a:lnTo>
                        <a:pt x="2515" y="0"/>
                      </a:lnTo>
                      <a:lnTo>
                        <a:pt x="0" y="0"/>
                      </a:lnTo>
                      <a:lnTo>
                        <a:pt x="0" y="800"/>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91" name="Group 127"/>
              <p:cNvGrpSpPr>
                <a:grpSpLocks/>
              </p:cNvGrpSpPr>
              <p:nvPr/>
            </p:nvGrpSpPr>
            <p:grpSpPr bwMode="gray">
              <a:xfrm>
                <a:off x="20022" y="-1811"/>
                <a:ext cx="2515" cy="799"/>
                <a:chOff x="20022" y="-1811"/>
                <a:chExt cx="2515" cy="799"/>
              </a:xfrm>
            </p:grpSpPr>
            <p:sp>
              <p:nvSpPr>
                <p:cNvPr id="100" name="Freeform 128"/>
                <p:cNvSpPr>
                  <a:spLocks/>
                </p:cNvSpPr>
                <p:nvPr/>
              </p:nvSpPr>
              <p:spPr bwMode="gray">
                <a:xfrm>
                  <a:off x="20022" y="-1811"/>
                  <a:ext cx="2515" cy="799"/>
                </a:xfrm>
                <a:custGeom>
                  <a:avLst/>
                  <a:gdLst>
                    <a:gd name="T0" fmla="+- 0 20022 20022"/>
                    <a:gd name="T1" fmla="*/ T0 w 2515"/>
                    <a:gd name="T2" fmla="+- 0 -1012 -1811"/>
                    <a:gd name="T3" fmla="*/ -1012 h 799"/>
                    <a:gd name="T4" fmla="+- 0 22537 20022"/>
                    <a:gd name="T5" fmla="*/ T4 w 2515"/>
                    <a:gd name="T6" fmla="+- 0 -1012 -1811"/>
                    <a:gd name="T7" fmla="*/ -1012 h 799"/>
                    <a:gd name="T8" fmla="+- 0 22537 20022"/>
                    <a:gd name="T9" fmla="*/ T8 w 2515"/>
                    <a:gd name="T10" fmla="+- 0 -1811 -1811"/>
                    <a:gd name="T11" fmla="*/ -1811 h 799"/>
                    <a:gd name="T12" fmla="+- 0 20022 20022"/>
                    <a:gd name="T13" fmla="*/ T12 w 2515"/>
                    <a:gd name="T14" fmla="+- 0 -1811 -1811"/>
                    <a:gd name="T15" fmla="*/ -1811 h 799"/>
                    <a:gd name="T16" fmla="+- 0 20022 20022"/>
                    <a:gd name="T17" fmla="*/ T16 w 2515"/>
                    <a:gd name="T18" fmla="+- 0 -1012 -1811"/>
                    <a:gd name="T19" fmla="*/ -1012 h 799"/>
                  </a:gdLst>
                  <a:ahLst/>
                  <a:cxnLst>
                    <a:cxn ang="0">
                      <a:pos x="T1" y="T3"/>
                    </a:cxn>
                    <a:cxn ang="0">
                      <a:pos x="T5" y="T7"/>
                    </a:cxn>
                    <a:cxn ang="0">
                      <a:pos x="T9" y="T11"/>
                    </a:cxn>
                    <a:cxn ang="0">
                      <a:pos x="T13" y="T15"/>
                    </a:cxn>
                    <a:cxn ang="0">
                      <a:pos x="T17" y="T19"/>
                    </a:cxn>
                  </a:cxnLst>
                  <a:rect l="0" t="0" r="r" b="b"/>
                  <a:pathLst>
                    <a:path w="2515" h="799">
                      <a:moveTo>
                        <a:pt x="0" y="799"/>
                      </a:moveTo>
                      <a:lnTo>
                        <a:pt x="2515" y="799"/>
                      </a:lnTo>
                      <a:lnTo>
                        <a:pt x="2515" y="0"/>
                      </a:lnTo>
                      <a:lnTo>
                        <a:pt x="0" y="0"/>
                      </a:lnTo>
                      <a:lnTo>
                        <a:pt x="0" y="799"/>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92" name="Group 129"/>
              <p:cNvGrpSpPr>
                <a:grpSpLocks/>
              </p:cNvGrpSpPr>
              <p:nvPr/>
            </p:nvGrpSpPr>
            <p:grpSpPr bwMode="gray">
              <a:xfrm>
                <a:off x="20022" y="-1811"/>
                <a:ext cx="2515" cy="799"/>
                <a:chOff x="20022" y="-1811"/>
                <a:chExt cx="2515" cy="799"/>
              </a:xfrm>
            </p:grpSpPr>
            <p:sp>
              <p:nvSpPr>
                <p:cNvPr id="99" name="Freeform 130"/>
                <p:cNvSpPr>
                  <a:spLocks/>
                </p:cNvSpPr>
                <p:nvPr/>
              </p:nvSpPr>
              <p:spPr bwMode="gray">
                <a:xfrm>
                  <a:off x="20022" y="-1811"/>
                  <a:ext cx="2515" cy="799"/>
                </a:xfrm>
                <a:custGeom>
                  <a:avLst/>
                  <a:gdLst>
                    <a:gd name="T0" fmla="+- 0 20022 20022"/>
                    <a:gd name="T1" fmla="*/ T0 w 2515"/>
                    <a:gd name="T2" fmla="+- 0 -1012 -1811"/>
                    <a:gd name="T3" fmla="*/ -1012 h 799"/>
                    <a:gd name="T4" fmla="+- 0 22537 20022"/>
                    <a:gd name="T5" fmla="*/ T4 w 2515"/>
                    <a:gd name="T6" fmla="+- 0 -1012 -1811"/>
                    <a:gd name="T7" fmla="*/ -1012 h 799"/>
                    <a:gd name="T8" fmla="+- 0 22537 20022"/>
                    <a:gd name="T9" fmla="*/ T8 w 2515"/>
                    <a:gd name="T10" fmla="+- 0 -1811 -1811"/>
                    <a:gd name="T11" fmla="*/ -1811 h 799"/>
                    <a:gd name="T12" fmla="+- 0 20022 20022"/>
                    <a:gd name="T13" fmla="*/ T12 w 2515"/>
                    <a:gd name="T14" fmla="+- 0 -1811 -1811"/>
                    <a:gd name="T15" fmla="*/ -1811 h 799"/>
                    <a:gd name="T16" fmla="+- 0 20022 20022"/>
                    <a:gd name="T17" fmla="*/ T16 w 2515"/>
                    <a:gd name="T18" fmla="+- 0 -1012 -1811"/>
                    <a:gd name="T19" fmla="*/ -1012 h 799"/>
                  </a:gdLst>
                  <a:ahLst/>
                  <a:cxnLst>
                    <a:cxn ang="0">
                      <a:pos x="T1" y="T3"/>
                    </a:cxn>
                    <a:cxn ang="0">
                      <a:pos x="T5" y="T7"/>
                    </a:cxn>
                    <a:cxn ang="0">
                      <a:pos x="T9" y="T11"/>
                    </a:cxn>
                    <a:cxn ang="0">
                      <a:pos x="T13" y="T15"/>
                    </a:cxn>
                    <a:cxn ang="0">
                      <a:pos x="T17" y="T19"/>
                    </a:cxn>
                  </a:cxnLst>
                  <a:rect l="0" t="0" r="r" b="b"/>
                  <a:pathLst>
                    <a:path w="2515" h="799">
                      <a:moveTo>
                        <a:pt x="0" y="799"/>
                      </a:moveTo>
                      <a:lnTo>
                        <a:pt x="2515" y="799"/>
                      </a:lnTo>
                      <a:lnTo>
                        <a:pt x="2515" y="0"/>
                      </a:lnTo>
                      <a:lnTo>
                        <a:pt x="0" y="0"/>
                      </a:lnTo>
                      <a:lnTo>
                        <a:pt x="0" y="799"/>
                      </a:lnTo>
                      <a:close/>
                    </a:path>
                  </a:pathLst>
                </a:custGeom>
                <a:noFill/>
                <a:ln w="25908">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93" name="Group 131"/>
              <p:cNvGrpSpPr>
                <a:grpSpLocks/>
              </p:cNvGrpSpPr>
              <p:nvPr/>
            </p:nvGrpSpPr>
            <p:grpSpPr bwMode="gray">
              <a:xfrm>
                <a:off x="18131" y="-3616"/>
                <a:ext cx="2081" cy="235"/>
                <a:chOff x="18131" y="-3616"/>
                <a:chExt cx="2081" cy="235"/>
              </a:xfrm>
            </p:grpSpPr>
            <p:sp>
              <p:nvSpPr>
                <p:cNvPr id="98" name="Freeform 132"/>
                <p:cNvSpPr>
                  <a:spLocks/>
                </p:cNvSpPr>
                <p:nvPr/>
              </p:nvSpPr>
              <p:spPr bwMode="gray">
                <a:xfrm>
                  <a:off x="18131" y="-3616"/>
                  <a:ext cx="2081" cy="235"/>
                </a:xfrm>
                <a:custGeom>
                  <a:avLst/>
                  <a:gdLst>
                    <a:gd name="T0" fmla="+- 0 20094 18131"/>
                    <a:gd name="T1" fmla="*/ T0 w 2081"/>
                    <a:gd name="T2" fmla="+- 0 -3616 -3616"/>
                    <a:gd name="T3" fmla="*/ -3616 h 235"/>
                    <a:gd name="T4" fmla="+- 0 20094 18131"/>
                    <a:gd name="T5" fmla="*/ T4 w 2081"/>
                    <a:gd name="T6" fmla="+- 0 -3557 -3616"/>
                    <a:gd name="T7" fmla="*/ -3557 h 235"/>
                    <a:gd name="T8" fmla="+- 0 18131 18131"/>
                    <a:gd name="T9" fmla="*/ T8 w 2081"/>
                    <a:gd name="T10" fmla="+- 0 -3557 -3616"/>
                    <a:gd name="T11" fmla="*/ -3557 h 235"/>
                    <a:gd name="T12" fmla="+- 0 18131 18131"/>
                    <a:gd name="T13" fmla="*/ T12 w 2081"/>
                    <a:gd name="T14" fmla="+- 0 -3439 -3616"/>
                    <a:gd name="T15" fmla="*/ -3439 h 235"/>
                    <a:gd name="T16" fmla="+- 0 20094 18131"/>
                    <a:gd name="T17" fmla="*/ T16 w 2081"/>
                    <a:gd name="T18" fmla="+- 0 -3439 -3616"/>
                    <a:gd name="T19" fmla="*/ -3439 h 235"/>
                    <a:gd name="T20" fmla="+- 0 20094 18131"/>
                    <a:gd name="T21" fmla="*/ T20 w 2081"/>
                    <a:gd name="T22" fmla="+- 0 -3380 -3616"/>
                    <a:gd name="T23" fmla="*/ -3380 h 235"/>
                    <a:gd name="T24" fmla="+- 0 20212 18131"/>
                    <a:gd name="T25" fmla="*/ T24 w 2081"/>
                    <a:gd name="T26" fmla="+- 0 -3498 -3616"/>
                    <a:gd name="T27" fmla="*/ -3498 h 235"/>
                    <a:gd name="T28" fmla="+- 0 20094 18131"/>
                    <a:gd name="T29" fmla="*/ T28 w 2081"/>
                    <a:gd name="T30" fmla="+- 0 -3616 -3616"/>
                    <a:gd name="T31" fmla="*/ -3616 h 235"/>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2081" h="235">
                      <a:moveTo>
                        <a:pt x="1963" y="0"/>
                      </a:moveTo>
                      <a:lnTo>
                        <a:pt x="1963" y="59"/>
                      </a:lnTo>
                      <a:lnTo>
                        <a:pt x="0" y="59"/>
                      </a:lnTo>
                      <a:lnTo>
                        <a:pt x="0" y="177"/>
                      </a:lnTo>
                      <a:lnTo>
                        <a:pt x="1963" y="177"/>
                      </a:lnTo>
                      <a:lnTo>
                        <a:pt x="1963" y="236"/>
                      </a:lnTo>
                      <a:lnTo>
                        <a:pt x="2081" y="118"/>
                      </a:lnTo>
                      <a:lnTo>
                        <a:pt x="1963" y="0"/>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94" name="Group 133"/>
              <p:cNvGrpSpPr>
                <a:grpSpLocks/>
              </p:cNvGrpSpPr>
              <p:nvPr/>
            </p:nvGrpSpPr>
            <p:grpSpPr bwMode="gray">
              <a:xfrm>
                <a:off x="18131" y="-3616"/>
                <a:ext cx="2081" cy="235"/>
                <a:chOff x="18131" y="-3616"/>
                <a:chExt cx="2081" cy="235"/>
              </a:xfrm>
            </p:grpSpPr>
            <p:sp>
              <p:nvSpPr>
                <p:cNvPr id="97" name="Freeform 134"/>
                <p:cNvSpPr>
                  <a:spLocks/>
                </p:cNvSpPr>
                <p:nvPr/>
              </p:nvSpPr>
              <p:spPr bwMode="gray">
                <a:xfrm>
                  <a:off x="18131" y="-3616"/>
                  <a:ext cx="2081" cy="235"/>
                </a:xfrm>
                <a:custGeom>
                  <a:avLst/>
                  <a:gdLst>
                    <a:gd name="T0" fmla="+- 0 18131 18131"/>
                    <a:gd name="T1" fmla="*/ T0 w 2081"/>
                    <a:gd name="T2" fmla="+- 0 -3557 -3616"/>
                    <a:gd name="T3" fmla="*/ -3557 h 235"/>
                    <a:gd name="T4" fmla="+- 0 20094 18131"/>
                    <a:gd name="T5" fmla="*/ T4 w 2081"/>
                    <a:gd name="T6" fmla="+- 0 -3557 -3616"/>
                    <a:gd name="T7" fmla="*/ -3557 h 235"/>
                    <a:gd name="T8" fmla="+- 0 20094 18131"/>
                    <a:gd name="T9" fmla="*/ T8 w 2081"/>
                    <a:gd name="T10" fmla="+- 0 -3616 -3616"/>
                    <a:gd name="T11" fmla="*/ -3616 h 235"/>
                    <a:gd name="T12" fmla="+- 0 20212 18131"/>
                    <a:gd name="T13" fmla="*/ T12 w 2081"/>
                    <a:gd name="T14" fmla="+- 0 -3498 -3616"/>
                    <a:gd name="T15" fmla="*/ -3498 h 235"/>
                    <a:gd name="T16" fmla="+- 0 20094 18131"/>
                    <a:gd name="T17" fmla="*/ T16 w 2081"/>
                    <a:gd name="T18" fmla="+- 0 -3380 -3616"/>
                    <a:gd name="T19" fmla="*/ -3380 h 235"/>
                    <a:gd name="T20" fmla="+- 0 20094 18131"/>
                    <a:gd name="T21" fmla="*/ T20 w 2081"/>
                    <a:gd name="T22" fmla="+- 0 -3439 -3616"/>
                    <a:gd name="T23" fmla="*/ -3439 h 235"/>
                    <a:gd name="T24" fmla="+- 0 18131 18131"/>
                    <a:gd name="T25" fmla="*/ T24 w 2081"/>
                    <a:gd name="T26" fmla="+- 0 -3439 -3616"/>
                    <a:gd name="T27" fmla="*/ -3439 h 235"/>
                    <a:gd name="T28" fmla="+- 0 18131 18131"/>
                    <a:gd name="T29" fmla="*/ T28 w 2081"/>
                    <a:gd name="T30" fmla="+- 0 -3557 -3616"/>
                    <a:gd name="T31" fmla="*/ -3557 h 235"/>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2081" h="235">
                      <a:moveTo>
                        <a:pt x="0" y="59"/>
                      </a:moveTo>
                      <a:lnTo>
                        <a:pt x="1963" y="59"/>
                      </a:lnTo>
                      <a:lnTo>
                        <a:pt x="1963" y="0"/>
                      </a:lnTo>
                      <a:lnTo>
                        <a:pt x="2081" y="118"/>
                      </a:lnTo>
                      <a:lnTo>
                        <a:pt x="1963" y="236"/>
                      </a:lnTo>
                      <a:lnTo>
                        <a:pt x="1963" y="177"/>
                      </a:lnTo>
                      <a:lnTo>
                        <a:pt x="0" y="177"/>
                      </a:lnTo>
                      <a:lnTo>
                        <a:pt x="0" y="59"/>
                      </a:lnTo>
                      <a:close/>
                    </a:path>
                  </a:pathLst>
                </a:custGeom>
                <a:noFill/>
                <a:ln w="25908">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95" name="Group 135"/>
              <p:cNvGrpSpPr>
                <a:grpSpLocks/>
              </p:cNvGrpSpPr>
              <p:nvPr/>
            </p:nvGrpSpPr>
            <p:grpSpPr bwMode="gray">
              <a:xfrm>
                <a:off x="20357" y="-3893"/>
                <a:ext cx="883" cy="554"/>
                <a:chOff x="20357" y="-3893"/>
                <a:chExt cx="883" cy="554"/>
              </a:xfrm>
            </p:grpSpPr>
            <p:sp>
              <p:nvSpPr>
                <p:cNvPr id="96" name="Freeform 136"/>
                <p:cNvSpPr>
                  <a:spLocks/>
                </p:cNvSpPr>
                <p:nvPr/>
              </p:nvSpPr>
              <p:spPr bwMode="gray">
                <a:xfrm>
                  <a:off x="20357" y="-3893"/>
                  <a:ext cx="883" cy="554"/>
                </a:xfrm>
                <a:custGeom>
                  <a:avLst/>
                  <a:gdLst>
                    <a:gd name="T0" fmla="+- 0 20357 20357"/>
                    <a:gd name="T1" fmla="*/ T0 w 883"/>
                    <a:gd name="T2" fmla="+- 0 -3338 -3893"/>
                    <a:gd name="T3" fmla="*/ -3338 h 554"/>
                    <a:gd name="T4" fmla="+- 0 21240 20357"/>
                    <a:gd name="T5" fmla="*/ T4 w 883"/>
                    <a:gd name="T6" fmla="+- 0 -3338 -3893"/>
                    <a:gd name="T7" fmla="*/ -3338 h 554"/>
                    <a:gd name="T8" fmla="+- 0 21240 20357"/>
                    <a:gd name="T9" fmla="*/ T8 w 883"/>
                    <a:gd name="T10" fmla="+- 0 -3893 -3893"/>
                    <a:gd name="T11" fmla="*/ -3893 h 554"/>
                    <a:gd name="T12" fmla="+- 0 20357 20357"/>
                    <a:gd name="T13" fmla="*/ T12 w 883"/>
                    <a:gd name="T14" fmla="+- 0 -3893 -3893"/>
                    <a:gd name="T15" fmla="*/ -3893 h 554"/>
                    <a:gd name="T16" fmla="+- 0 20357 20357"/>
                    <a:gd name="T17" fmla="*/ T16 w 883"/>
                    <a:gd name="T18" fmla="+- 0 -3338 -3893"/>
                    <a:gd name="T19" fmla="*/ -3338 h 554"/>
                  </a:gdLst>
                  <a:ahLst/>
                  <a:cxnLst>
                    <a:cxn ang="0">
                      <a:pos x="T1" y="T3"/>
                    </a:cxn>
                    <a:cxn ang="0">
                      <a:pos x="T5" y="T7"/>
                    </a:cxn>
                    <a:cxn ang="0">
                      <a:pos x="T9" y="T11"/>
                    </a:cxn>
                    <a:cxn ang="0">
                      <a:pos x="T13" y="T15"/>
                    </a:cxn>
                    <a:cxn ang="0">
                      <a:pos x="T17" y="T19"/>
                    </a:cxn>
                  </a:cxnLst>
                  <a:rect l="0" t="0" r="r" b="b"/>
                  <a:pathLst>
                    <a:path w="883" h="554">
                      <a:moveTo>
                        <a:pt x="0" y="555"/>
                      </a:moveTo>
                      <a:lnTo>
                        <a:pt x="883" y="555"/>
                      </a:lnTo>
                      <a:lnTo>
                        <a:pt x="883" y="0"/>
                      </a:lnTo>
                      <a:lnTo>
                        <a:pt x="0" y="0"/>
                      </a:lnTo>
                      <a:lnTo>
                        <a:pt x="0" y="555"/>
                      </a:lnTo>
                    </a:path>
                  </a:pathLst>
                </a:custGeom>
                <a:solidFill>
                  <a:srgbClr val="779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grpSp>
      <p:sp>
        <p:nvSpPr>
          <p:cNvPr id="143" name="Rectangle 142"/>
          <p:cNvSpPr/>
          <p:nvPr/>
        </p:nvSpPr>
        <p:spPr bwMode="gray">
          <a:xfrm>
            <a:off x="6151878" y="2691442"/>
            <a:ext cx="264816" cy="276999"/>
          </a:xfrm>
          <a:prstGeom prst="rect">
            <a:avLst/>
          </a:prstGeom>
        </p:spPr>
        <p:txBody>
          <a:bodyPr wrap="none">
            <a:spAutoFit/>
          </a:bodyPr>
          <a:lstStyle/>
          <a:p>
            <a:r>
              <a:rPr lang="en-US" sz="1200"/>
              <a:t>b</a:t>
            </a:r>
            <a:endParaRPr lang="en-IN" sz="1200"/>
          </a:p>
        </p:txBody>
      </p:sp>
      <p:sp>
        <p:nvSpPr>
          <p:cNvPr id="144" name="Rectangle 143"/>
          <p:cNvSpPr/>
          <p:nvPr/>
        </p:nvSpPr>
        <p:spPr bwMode="gray">
          <a:xfrm>
            <a:off x="7002475" y="3488890"/>
            <a:ext cx="250390" cy="276999"/>
          </a:xfrm>
          <a:prstGeom prst="rect">
            <a:avLst/>
          </a:prstGeom>
        </p:spPr>
        <p:txBody>
          <a:bodyPr wrap="none">
            <a:spAutoFit/>
          </a:bodyPr>
          <a:lstStyle/>
          <a:p>
            <a:r>
              <a:rPr lang="en-US" sz="1200" smtClean="0"/>
              <a:t>c</a:t>
            </a:r>
            <a:endParaRPr lang="en-IN" sz="1200"/>
          </a:p>
        </p:txBody>
      </p:sp>
      <p:sp>
        <p:nvSpPr>
          <p:cNvPr id="145" name="Rectangle 144"/>
          <p:cNvSpPr/>
          <p:nvPr/>
        </p:nvSpPr>
        <p:spPr bwMode="gray">
          <a:xfrm>
            <a:off x="7597894" y="1532492"/>
            <a:ext cx="692818" cy="369332"/>
          </a:xfrm>
          <a:prstGeom prst="rect">
            <a:avLst/>
          </a:prstGeom>
        </p:spPr>
        <p:txBody>
          <a:bodyPr wrap="none">
            <a:spAutoFit/>
          </a:bodyPr>
          <a:lstStyle/>
          <a:p>
            <a:r>
              <a:rPr lang="en-US" smtClean="0">
                <a:solidFill>
                  <a:srgbClr val="C00000"/>
                </a:solidFill>
              </a:rPr>
              <a:t>Node</a:t>
            </a:r>
            <a:endParaRPr lang="en-IN">
              <a:solidFill>
                <a:srgbClr val="C00000"/>
              </a:solidFill>
            </a:endParaRPr>
          </a:p>
        </p:txBody>
      </p:sp>
      <p:sp>
        <p:nvSpPr>
          <p:cNvPr id="146" name="Rectangle 145"/>
          <p:cNvSpPr/>
          <p:nvPr/>
        </p:nvSpPr>
        <p:spPr bwMode="gray">
          <a:xfrm>
            <a:off x="4471927" y="2659550"/>
            <a:ext cx="258404" cy="276999"/>
          </a:xfrm>
          <a:prstGeom prst="rect">
            <a:avLst/>
          </a:prstGeom>
        </p:spPr>
        <p:txBody>
          <a:bodyPr wrap="none">
            <a:spAutoFit/>
          </a:bodyPr>
          <a:lstStyle/>
          <a:p>
            <a:r>
              <a:rPr lang="en-US" sz="1200" dirty="0" smtClean="0"/>
              <a:t>a</a:t>
            </a:r>
            <a:endParaRPr lang="en-IN" sz="1200" dirty="0"/>
          </a:p>
        </p:txBody>
      </p:sp>
      <p:sp>
        <p:nvSpPr>
          <p:cNvPr id="147" name="Rectangle 146"/>
          <p:cNvSpPr/>
          <p:nvPr/>
        </p:nvSpPr>
        <p:spPr bwMode="gray">
          <a:xfrm>
            <a:off x="7642020" y="4626568"/>
            <a:ext cx="526106" cy="307777"/>
          </a:xfrm>
          <a:prstGeom prst="rect">
            <a:avLst/>
          </a:prstGeom>
        </p:spPr>
        <p:txBody>
          <a:bodyPr wrap="none">
            <a:spAutoFit/>
          </a:bodyPr>
          <a:lstStyle/>
          <a:p>
            <a:r>
              <a:rPr lang="en-US" sz="1400">
                <a:solidFill>
                  <a:schemeClr val="bg1"/>
                </a:solidFill>
              </a:rPr>
              <a:t>Rack</a:t>
            </a:r>
            <a:endParaRPr lang="en-IN" sz="1400">
              <a:solidFill>
                <a:schemeClr val="bg1"/>
              </a:solidFill>
            </a:endParaRPr>
          </a:p>
        </p:txBody>
      </p:sp>
    </p:spTree>
    <p:extLst>
      <p:ext uri="{BB962C8B-B14F-4D97-AF65-F5344CB8AC3E}">
        <p14:creationId xmlns:p14="http://schemas.microsoft.com/office/powerpoint/2010/main" val="113352627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INPUT SPLITS</a:t>
            </a:r>
            <a:endParaRPr lang="en-IN"/>
          </a:p>
        </p:txBody>
      </p:sp>
      <p:sp>
        <p:nvSpPr>
          <p:cNvPr id="14" name="Freeform 5"/>
          <p:cNvSpPr>
            <a:spLocks/>
          </p:cNvSpPr>
          <p:nvPr/>
        </p:nvSpPr>
        <p:spPr bwMode="gray">
          <a:xfrm>
            <a:off x="1148275" y="2578173"/>
            <a:ext cx="1645776" cy="1028664"/>
          </a:xfrm>
          <a:prstGeom prst="roundRect">
            <a:avLst/>
          </a:pr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r>
              <a:rPr lang="en-US" sz="1600">
                <a:solidFill>
                  <a:schemeClr val="bg1"/>
                </a:solidFill>
              </a:rPr>
              <a:t>INPUT DATA</a:t>
            </a:r>
            <a:endParaRPr lang="en-IN" sz="1600">
              <a:solidFill>
                <a:schemeClr val="bg1"/>
              </a:solidFill>
            </a:endParaRPr>
          </a:p>
        </p:txBody>
      </p:sp>
      <p:sp>
        <p:nvSpPr>
          <p:cNvPr id="13" name="Freeform 7"/>
          <p:cNvSpPr>
            <a:spLocks/>
          </p:cNvSpPr>
          <p:nvPr/>
        </p:nvSpPr>
        <p:spPr bwMode="gray">
          <a:xfrm>
            <a:off x="3370073" y="2166708"/>
            <a:ext cx="1481199" cy="781784"/>
          </a:xfrm>
          <a:prstGeom prst="roundRect">
            <a:avLst/>
          </a:prstGeom>
          <a:solidFill>
            <a:srgbClr val="779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r>
              <a:rPr lang="en-US" sz="1600">
                <a:solidFill>
                  <a:schemeClr val="bg1"/>
                </a:solidFill>
              </a:rPr>
              <a:t>HDFS BLOCK</a:t>
            </a:r>
            <a:endParaRPr lang="en-IN" sz="1600">
              <a:solidFill>
                <a:schemeClr val="bg1"/>
              </a:solidFill>
            </a:endParaRPr>
          </a:p>
        </p:txBody>
      </p:sp>
      <p:sp>
        <p:nvSpPr>
          <p:cNvPr id="12" name="Freeform 9"/>
          <p:cNvSpPr>
            <a:spLocks/>
          </p:cNvSpPr>
          <p:nvPr/>
        </p:nvSpPr>
        <p:spPr bwMode="gray">
          <a:xfrm>
            <a:off x="3411903" y="3157654"/>
            <a:ext cx="1481199" cy="781784"/>
          </a:xfrm>
          <a:prstGeom prst="roundRect">
            <a:avLst/>
          </a:prstGeom>
          <a:solidFill>
            <a:srgbClr val="779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r>
              <a:rPr lang="en-US" sz="1600">
                <a:solidFill>
                  <a:schemeClr val="bg1"/>
                </a:solidFill>
              </a:rPr>
              <a:t>INPUT SPLITS</a:t>
            </a:r>
            <a:endParaRPr lang="en-IN" sz="1600">
              <a:solidFill>
                <a:schemeClr val="bg1"/>
              </a:solidFill>
            </a:endParaRPr>
          </a:p>
        </p:txBody>
      </p:sp>
      <p:sp>
        <p:nvSpPr>
          <p:cNvPr id="11" name="Freeform 11"/>
          <p:cNvSpPr>
            <a:spLocks/>
          </p:cNvSpPr>
          <p:nvPr/>
        </p:nvSpPr>
        <p:spPr bwMode="gray">
          <a:xfrm>
            <a:off x="5447866" y="2166708"/>
            <a:ext cx="1481199" cy="781784"/>
          </a:xfrm>
          <a:prstGeom prst="round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r>
              <a:rPr lang="en-US" sz="1600">
                <a:solidFill>
                  <a:schemeClr val="bg1"/>
                </a:solidFill>
              </a:rPr>
              <a:t>PHYSICAL</a:t>
            </a:r>
            <a:endParaRPr lang="en-IN" sz="1600">
              <a:solidFill>
                <a:schemeClr val="bg1"/>
              </a:solidFill>
            </a:endParaRPr>
          </a:p>
          <a:p>
            <a:r>
              <a:rPr lang="en-US" sz="1600">
                <a:solidFill>
                  <a:schemeClr val="bg1"/>
                </a:solidFill>
              </a:rPr>
              <a:t>DIVISION</a:t>
            </a:r>
            <a:endParaRPr lang="en-IN" sz="1600">
              <a:solidFill>
                <a:schemeClr val="bg1"/>
              </a:solidFill>
            </a:endParaRPr>
          </a:p>
        </p:txBody>
      </p:sp>
      <p:sp>
        <p:nvSpPr>
          <p:cNvPr id="10" name="Freeform 13"/>
          <p:cNvSpPr>
            <a:spLocks/>
          </p:cNvSpPr>
          <p:nvPr/>
        </p:nvSpPr>
        <p:spPr bwMode="gray">
          <a:xfrm>
            <a:off x="5511297" y="3157654"/>
            <a:ext cx="1481199" cy="781784"/>
          </a:xfrm>
          <a:prstGeom prst="roundRect">
            <a:avLst/>
          </a:prstGeom>
          <a:solidFill>
            <a:srgbClr val="FF6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r>
              <a:rPr lang="en-US" sz="1600">
                <a:solidFill>
                  <a:schemeClr val="bg1"/>
                </a:solidFill>
              </a:rPr>
              <a:t>LOGICAL </a:t>
            </a:r>
            <a:r>
              <a:rPr lang="en-US" sz="1600" smtClean="0">
                <a:solidFill>
                  <a:schemeClr val="bg1"/>
                </a:solidFill>
              </a:rPr>
              <a:t>DIVISION</a:t>
            </a:r>
            <a:endParaRPr lang="en-IN" sz="1600">
              <a:solidFill>
                <a:schemeClr val="bg1"/>
              </a:solidFill>
            </a:endParaRPr>
          </a:p>
        </p:txBody>
      </p:sp>
      <p:cxnSp>
        <p:nvCxnSpPr>
          <p:cNvPr id="16" name="Straight Connector 15"/>
          <p:cNvCxnSpPr>
            <a:stCxn id="14" idx="3"/>
            <a:endCxn id="13" idx="1"/>
          </p:cNvCxnSpPr>
          <p:nvPr/>
        </p:nvCxnSpPr>
        <p:spPr bwMode="gray">
          <a:xfrm flipV="1">
            <a:off x="2794051" y="2557600"/>
            <a:ext cx="576022" cy="53490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14" idx="3"/>
            <a:endCxn id="12" idx="1"/>
          </p:cNvCxnSpPr>
          <p:nvPr/>
        </p:nvCxnSpPr>
        <p:spPr bwMode="gray">
          <a:xfrm>
            <a:off x="2794051" y="3092505"/>
            <a:ext cx="617852" cy="4560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3" idx="3"/>
            <a:endCxn id="11" idx="1"/>
          </p:cNvCxnSpPr>
          <p:nvPr/>
        </p:nvCxnSpPr>
        <p:spPr bwMode="gray">
          <a:xfrm>
            <a:off x="4851272" y="2557600"/>
            <a:ext cx="59659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12" idx="3"/>
            <a:endCxn id="10" idx="1"/>
          </p:cNvCxnSpPr>
          <p:nvPr/>
        </p:nvCxnSpPr>
        <p:spPr bwMode="gray">
          <a:xfrm>
            <a:off x="4893102" y="3548546"/>
            <a:ext cx="61819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203105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4883176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gray"/>
        <p:txBody>
          <a:bodyPr/>
          <a:lstStyle/>
          <a:p>
            <a:r>
              <a:rPr lang="en-US" smtClean="0"/>
              <a:t>MAP REDUCE</a:t>
            </a:r>
            <a:endParaRPr lang="en-IN"/>
          </a:p>
        </p:txBody>
      </p:sp>
      <p:sp>
        <p:nvSpPr>
          <p:cNvPr id="3" name="Rectangle 2"/>
          <p:cNvSpPr/>
          <p:nvPr>
            <p:custDataLst>
              <p:tags r:id="rId4"/>
            </p:custDataLst>
          </p:nvPr>
        </p:nvSpPr>
        <p:spPr bwMode="gray">
          <a:xfrm>
            <a:off x="566738" y="2434162"/>
            <a:ext cx="8272462" cy="1138773"/>
          </a:xfrm>
          <a:prstGeom prst="rect">
            <a:avLst/>
          </a:prstGeom>
        </p:spPr>
        <p:txBody>
          <a:bodyPr wrap="square" lIns="0" tIns="0" rIns="0" bIns="0">
            <a:spAutoFit/>
          </a:bodyPr>
          <a:lstStyle/>
          <a:p>
            <a:pPr marL="233363" indent="-233363">
              <a:spcBef>
                <a:spcPts val="1200"/>
              </a:spcBef>
              <a:buClr>
                <a:schemeClr val="bg2"/>
              </a:buClr>
              <a:buSzPct val="125000"/>
              <a:buFont typeface="Arial" panose="020B0604020202020204" pitchFamily="34" charset="0"/>
              <a:buChar char="›"/>
            </a:pPr>
            <a:r>
              <a:rPr lang="en-US" dirty="0"/>
              <a:t>Logical records do not fit neatly into the HDFS blocks</a:t>
            </a:r>
            <a:r>
              <a:rPr lang="en-US" dirty="0" smtClean="0"/>
              <a:t>.</a:t>
            </a:r>
            <a:r>
              <a:rPr lang="en-US" dirty="0"/>
              <a:t> </a:t>
            </a:r>
            <a:endParaRPr lang="en-IN" dirty="0"/>
          </a:p>
          <a:p>
            <a:pPr marL="233363" indent="-233363">
              <a:spcBef>
                <a:spcPts val="1200"/>
              </a:spcBef>
              <a:buClr>
                <a:schemeClr val="bg2"/>
              </a:buClr>
              <a:buSzPct val="125000"/>
              <a:buFont typeface="Arial" panose="020B0604020202020204" pitchFamily="34" charset="0"/>
              <a:buChar char="›"/>
            </a:pPr>
            <a:r>
              <a:rPr lang="en-US" dirty="0"/>
              <a:t>Logical records are lines that cross the boundary of the blocks</a:t>
            </a:r>
            <a:r>
              <a:rPr lang="en-US" dirty="0" smtClean="0"/>
              <a:t>.</a:t>
            </a:r>
            <a:r>
              <a:rPr lang="en-US" dirty="0"/>
              <a:t> </a:t>
            </a:r>
            <a:endParaRPr lang="en-IN" dirty="0"/>
          </a:p>
          <a:p>
            <a:pPr marL="233363" indent="-233363">
              <a:spcBef>
                <a:spcPts val="1200"/>
              </a:spcBef>
              <a:buClr>
                <a:schemeClr val="bg2"/>
              </a:buClr>
              <a:buSzPct val="125000"/>
              <a:buFont typeface="Arial" panose="020B0604020202020204" pitchFamily="34" charset="0"/>
              <a:buChar char="›"/>
            </a:pPr>
            <a:r>
              <a:rPr lang="en-US" dirty="0"/>
              <a:t>First split contains line 5 although it spans across blocks.</a:t>
            </a:r>
            <a:endParaRPr lang="en-IN" dirty="0"/>
          </a:p>
        </p:txBody>
      </p:sp>
    </p:spTree>
    <p:extLst>
      <p:ext uri="{BB962C8B-B14F-4D97-AF65-F5344CB8AC3E}">
        <p14:creationId xmlns:p14="http://schemas.microsoft.com/office/powerpoint/2010/main" val="280280026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MAP REDUCE FLOW</a:t>
            </a:r>
            <a:endParaRPr lang="en-IN"/>
          </a:p>
        </p:txBody>
      </p:sp>
      <p:grpSp>
        <p:nvGrpSpPr>
          <p:cNvPr id="35" name="Group 34"/>
          <p:cNvGrpSpPr/>
          <p:nvPr/>
        </p:nvGrpSpPr>
        <p:grpSpPr bwMode="gray">
          <a:xfrm>
            <a:off x="2842166" y="1874110"/>
            <a:ext cx="3318381" cy="3522848"/>
            <a:chOff x="2842166" y="1874110"/>
            <a:chExt cx="3318381" cy="3522848"/>
          </a:xfrm>
        </p:grpSpPr>
        <p:sp>
          <p:nvSpPr>
            <p:cNvPr id="28" name="Freeform 4"/>
            <p:cNvSpPr>
              <a:spLocks/>
            </p:cNvSpPr>
            <p:nvPr/>
          </p:nvSpPr>
          <p:spPr bwMode="gray">
            <a:xfrm>
              <a:off x="3494744" y="1874110"/>
              <a:ext cx="2013780" cy="2012263"/>
            </a:xfrm>
            <a:custGeom>
              <a:avLst/>
              <a:gdLst>
                <a:gd name="T0" fmla="+- 0 12812 11147"/>
                <a:gd name="T1" fmla="*/ T0 w 3629"/>
                <a:gd name="T2" fmla="+- 0 -991 -997"/>
                <a:gd name="T3" fmla="*/ -991 h 3626"/>
                <a:gd name="T4" fmla="+- 0 12525 11147"/>
                <a:gd name="T5" fmla="*/ T4 w 3629"/>
                <a:gd name="T6" fmla="+- 0 -944 -997"/>
                <a:gd name="T7" fmla="*/ -944 h 3626"/>
                <a:gd name="T8" fmla="+- 0 12255 11147"/>
                <a:gd name="T9" fmla="*/ T8 w 3629"/>
                <a:gd name="T10" fmla="+- 0 -854 -997"/>
                <a:gd name="T11" fmla="*/ -854 h 3626"/>
                <a:gd name="T12" fmla="+- 0 12005 11147"/>
                <a:gd name="T13" fmla="*/ T12 w 3629"/>
                <a:gd name="T14" fmla="+- 0 -725 -997"/>
                <a:gd name="T15" fmla="*/ -725 h 3626"/>
                <a:gd name="T16" fmla="+- 0 11780 11147"/>
                <a:gd name="T17" fmla="*/ T16 w 3629"/>
                <a:gd name="T18" fmla="+- 0 -560 -997"/>
                <a:gd name="T19" fmla="*/ -560 h 3626"/>
                <a:gd name="T20" fmla="+- 0 11584 11147"/>
                <a:gd name="T21" fmla="*/ T20 w 3629"/>
                <a:gd name="T22" fmla="+- 0 -364 -997"/>
                <a:gd name="T23" fmla="*/ -364 h 3626"/>
                <a:gd name="T24" fmla="+- 0 11419 11147"/>
                <a:gd name="T25" fmla="*/ T24 w 3629"/>
                <a:gd name="T26" fmla="+- 0 -139 -997"/>
                <a:gd name="T27" fmla="*/ -139 h 3626"/>
                <a:gd name="T28" fmla="+- 0 11289 11147"/>
                <a:gd name="T29" fmla="*/ T28 w 3629"/>
                <a:gd name="T30" fmla="+- 0 111 -997"/>
                <a:gd name="T31" fmla="*/ 111 h 3626"/>
                <a:gd name="T32" fmla="+- 0 11200 11147"/>
                <a:gd name="T33" fmla="*/ T32 w 3629"/>
                <a:gd name="T34" fmla="+- 0 381 -997"/>
                <a:gd name="T35" fmla="*/ 381 h 3626"/>
                <a:gd name="T36" fmla="+- 0 11153 11147"/>
                <a:gd name="T37" fmla="*/ T36 w 3629"/>
                <a:gd name="T38" fmla="+- 0 668 -997"/>
                <a:gd name="T39" fmla="*/ 668 h 3626"/>
                <a:gd name="T40" fmla="+- 0 11153 11147"/>
                <a:gd name="T41" fmla="*/ T40 w 3629"/>
                <a:gd name="T42" fmla="+- 0 965 -997"/>
                <a:gd name="T43" fmla="*/ 965 h 3626"/>
                <a:gd name="T44" fmla="+- 0 11200 11147"/>
                <a:gd name="T45" fmla="*/ T44 w 3629"/>
                <a:gd name="T46" fmla="+- 0 1252 -997"/>
                <a:gd name="T47" fmla="*/ 1252 h 3626"/>
                <a:gd name="T48" fmla="+- 0 11289 11147"/>
                <a:gd name="T49" fmla="*/ T48 w 3629"/>
                <a:gd name="T50" fmla="+- 0 1522 -997"/>
                <a:gd name="T51" fmla="*/ 1522 h 3626"/>
                <a:gd name="T52" fmla="+- 0 11419 11147"/>
                <a:gd name="T53" fmla="*/ T52 w 3629"/>
                <a:gd name="T54" fmla="+- 0 1771 -997"/>
                <a:gd name="T55" fmla="*/ 1771 h 3626"/>
                <a:gd name="T56" fmla="+- 0 11584 11147"/>
                <a:gd name="T57" fmla="*/ T56 w 3629"/>
                <a:gd name="T58" fmla="+- 0 1996 -997"/>
                <a:gd name="T59" fmla="*/ 1996 h 3626"/>
                <a:gd name="T60" fmla="+- 0 11780 11147"/>
                <a:gd name="T61" fmla="*/ T60 w 3629"/>
                <a:gd name="T62" fmla="+- 0 2193 -997"/>
                <a:gd name="T63" fmla="*/ 2193 h 3626"/>
                <a:gd name="T64" fmla="+- 0 12005 11147"/>
                <a:gd name="T65" fmla="*/ T64 w 3629"/>
                <a:gd name="T66" fmla="+- 0 2358 -997"/>
                <a:gd name="T67" fmla="*/ 2358 h 3626"/>
                <a:gd name="T68" fmla="+- 0 12255 11147"/>
                <a:gd name="T69" fmla="*/ T68 w 3629"/>
                <a:gd name="T70" fmla="+- 0 2487 -997"/>
                <a:gd name="T71" fmla="*/ 2487 h 3626"/>
                <a:gd name="T72" fmla="+- 0 12525 11147"/>
                <a:gd name="T73" fmla="*/ T72 w 3629"/>
                <a:gd name="T74" fmla="+- 0 2577 -997"/>
                <a:gd name="T75" fmla="*/ 2577 h 3626"/>
                <a:gd name="T76" fmla="+- 0 12812 11147"/>
                <a:gd name="T77" fmla="*/ T76 w 3629"/>
                <a:gd name="T78" fmla="+- 0 2623 -997"/>
                <a:gd name="T79" fmla="*/ 2623 h 3626"/>
                <a:gd name="T80" fmla="+- 0 13110 11147"/>
                <a:gd name="T81" fmla="*/ T80 w 3629"/>
                <a:gd name="T82" fmla="+- 0 2623 -997"/>
                <a:gd name="T83" fmla="*/ 2623 h 3626"/>
                <a:gd name="T84" fmla="+- 0 13397 11147"/>
                <a:gd name="T85" fmla="*/ T84 w 3629"/>
                <a:gd name="T86" fmla="+- 0 2577 -997"/>
                <a:gd name="T87" fmla="*/ 2577 h 3626"/>
                <a:gd name="T88" fmla="+- 0 13667 11147"/>
                <a:gd name="T89" fmla="*/ T88 w 3629"/>
                <a:gd name="T90" fmla="+- 0 2487 -997"/>
                <a:gd name="T91" fmla="*/ 2487 h 3626"/>
                <a:gd name="T92" fmla="+- 0 13917 11147"/>
                <a:gd name="T93" fmla="*/ T92 w 3629"/>
                <a:gd name="T94" fmla="+- 0 2358 -997"/>
                <a:gd name="T95" fmla="*/ 2358 h 3626"/>
                <a:gd name="T96" fmla="+- 0 14142 11147"/>
                <a:gd name="T97" fmla="*/ T96 w 3629"/>
                <a:gd name="T98" fmla="+- 0 2193 -997"/>
                <a:gd name="T99" fmla="*/ 2193 h 3626"/>
                <a:gd name="T100" fmla="+- 0 14339 11147"/>
                <a:gd name="T101" fmla="*/ T100 w 3629"/>
                <a:gd name="T102" fmla="+- 0 1996 -997"/>
                <a:gd name="T103" fmla="*/ 1996 h 3626"/>
                <a:gd name="T104" fmla="+- 0 14504 11147"/>
                <a:gd name="T105" fmla="*/ T104 w 3629"/>
                <a:gd name="T106" fmla="+- 0 1771 -997"/>
                <a:gd name="T107" fmla="*/ 1771 h 3626"/>
                <a:gd name="T108" fmla="+- 0 14633 11147"/>
                <a:gd name="T109" fmla="*/ T108 w 3629"/>
                <a:gd name="T110" fmla="+- 0 1522 -997"/>
                <a:gd name="T111" fmla="*/ 1522 h 3626"/>
                <a:gd name="T112" fmla="+- 0 14723 11147"/>
                <a:gd name="T113" fmla="*/ T112 w 3629"/>
                <a:gd name="T114" fmla="+- 0 1252 -997"/>
                <a:gd name="T115" fmla="*/ 1252 h 3626"/>
                <a:gd name="T116" fmla="+- 0 14770 11147"/>
                <a:gd name="T117" fmla="*/ T116 w 3629"/>
                <a:gd name="T118" fmla="+- 0 965 -997"/>
                <a:gd name="T119" fmla="*/ 965 h 3626"/>
                <a:gd name="T120" fmla="+- 0 14770 11147"/>
                <a:gd name="T121" fmla="*/ T120 w 3629"/>
                <a:gd name="T122" fmla="+- 0 668 -997"/>
                <a:gd name="T123" fmla="*/ 668 h 3626"/>
                <a:gd name="T124" fmla="+- 0 14723 11147"/>
                <a:gd name="T125" fmla="*/ T124 w 3629"/>
                <a:gd name="T126" fmla="+- 0 381 -997"/>
                <a:gd name="T127" fmla="*/ 381 h 3626"/>
                <a:gd name="T128" fmla="+- 0 14633 11147"/>
                <a:gd name="T129" fmla="*/ T128 w 3629"/>
                <a:gd name="T130" fmla="+- 0 111 -997"/>
                <a:gd name="T131" fmla="*/ 111 h 3626"/>
                <a:gd name="T132" fmla="+- 0 14504 11147"/>
                <a:gd name="T133" fmla="*/ T132 w 3629"/>
                <a:gd name="T134" fmla="+- 0 -139 -997"/>
                <a:gd name="T135" fmla="*/ -139 h 3626"/>
                <a:gd name="T136" fmla="+- 0 14339 11147"/>
                <a:gd name="T137" fmla="*/ T136 w 3629"/>
                <a:gd name="T138" fmla="+- 0 -364 -997"/>
                <a:gd name="T139" fmla="*/ -364 h 3626"/>
                <a:gd name="T140" fmla="+- 0 14142 11147"/>
                <a:gd name="T141" fmla="*/ T140 w 3629"/>
                <a:gd name="T142" fmla="+- 0 -560 -997"/>
                <a:gd name="T143" fmla="*/ -560 h 3626"/>
                <a:gd name="T144" fmla="+- 0 13917 11147"/>
                <a:gd name="T145" fmla="*/ T144 w 3629"/>
                <a:gd name="T146" fmla="+- 0 -725 -997"/>
                <a:gd name="T147" fmla="*/ -725 h 3626"/>
                <a:gd name="T148" fmla="+- 0 13667 11147"/>
                <a:gd name="T149" fmla="*/ T148 w 3629"/>
                <a:gd name="T150" fmla="+- 0 -854 -997"/>
                <a:gd name="T151" fmla="*/ -854 h 3626"/>
                <a:gd name="T152" fmla="+- 0 13397 11147"/>
                <a:gd name="T153" fmla="*/ T152 w 3629"/>
                <a:gd name="T154" fmla="+- 0 -944 -997"/>
                <a:gd name="T155" fmla="*/ -944 h 3626"/>
                <a:gd name="T156" fmla="+- 0 13110 11147"/>
                <a:gd name="T157" fmla="*/ T156 w 3629"/>
                <a:gd name="T158" fmla="+- 0 -991 -997"/>
                <a:gd name="T159" fmla="*/ -991 h 362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3629" h="3626">
                  <a:moveTo>
                    <a:pt x="1814" y="0"/>
                  </a:moveTo>
                  <a:lnTo>
                    <a:pt x="1665" y="6"/>
                  </a:lnTo>
                  <a:lnTo>
                    <a:pt x="1520" y="24"/>
                  </a:lnTo>
                  <a:lnTo>
                    <a:pt x="1378" y="53"/>
                  </a:lnTo>
                  <a:lnTo>
                    <a:pt x="1241" y="93"/>
                  </a:lnTo>
                  <a:lnTo>
                    <a:pt x="1108" y="143"/>
                  </a:lnTo>
                  <a:lnTo>
                    <a:pt x="980" y="202"/>
                  </a:lnTo>
                  <a:lnTo>
                    <a:pt x="858" y="272"/>
                  </a:lnTo>
                  <a:lnTo>
                    <a:pt x="743" y="350"/>
                  </a:lnTo>
                  <a:lnTo>
                    <a:pt x="633" y="437"/>
                  </a:lnTo>
                  <a:lnTo>
                    <a:pt x="531" y="531"/>
                  </a:lnTo>
                  <a:lnTo>
                    <a:pt x="437" y="633"/>
                  </a:lnTo>
                  <a:lnTo>
                    <a:pt x="350" y="742"/>
                  </a:lnTo>
                  <a:lnTo>
                    <a:pt x="272" y="858"/>
                  </a:lnTo>
                  <a:lnTo>
                    <a:pt x="202" y="980"/>
                  </a:lnTo>
                  <a:lnTo>
                    <a:pt x="142" y="1108"/>
                  </a:lnTo>
                  <a:lnTo>
                    <a:pt x="92" y="1240"/>
                  </a:lnTo>
                  <a:lnTo>
                    <a:pt x="53" y="1378"/>
                  </a:lnTo>
                  <a:lnTo>
                    <a:pt x="24" y="1519"/>
                  </a:lnTo>
                  <a:lnTo>
                    <a:pt x="6" y="1665"/>
                  </a:lnTo>
                  <a:lnTo>
                    <a:pt x="0" y="1813"/>
                  </a:lnTo>
                  <a:lnTo>
                    <a:pt x="6" y="1962"/>
                  </a:lnTo>
                  <a:lnTo>
                    <a:pt x="24" y="2107"/>
                  </a:lnTo>
                  <a:lnTo>
                    <a:pt x="53" y="2249"/>
                  </a:lnTo>
                  <a:lnTo>
                    <a:pt x="92" y="2386"/>
                  </a:lnTo>
                  <a:lnTo>
                    <a:pt x="142" y="2519"/>
                  </a:lnTo>
                  <a:lnTo>
                    <a:pt x="202" y="2647"/>
                  </a:lnTo>
                  <a:lnTo>
                    <a:pt x="272" y="2768"/>
                  </a:lnTo>
                  <a:lnTo>
                    <a:pt x="350" y="2884"/>
                  </a:lnTo>
                  <a:lnTo>
                    <a:pt x="437" y="2993"/>
                  </a:lnTo>
                  <a:lnTo>
                    <a:pt x="531" y="3095"/>
                  </a:lnTo>
                  <a:lnTo>
                    <a:pt x="633" y="3190"/>
                  </a:lnTo>
                  <a:lnTo>
                    <a:pt x="743" y="3277"/>
                  </a:lnTo>
                  <a:lnTo>
                    <a:pt x="858" y="3355"/>
                  </a:lnTo>
                  <a:lnTo>
                    <a:pt x="980" y="3424"/>
                  </a:lnTo>
                  <a:lnTo>
                    <a:pt x="1108" y="3484"/>
                  </a:lnTo>
                  <a:lnTo>
                    <a:pt x="1241" y="3534"/>
                  </a:lnTo>
                  <a:lnTo>
                    <a:pt x="1378" y="3574"/>
                  </a:lnTo>
                  <a:lnTo>
                    <a:pt x="1520" y="3603"/>
                  </a:lnTo>
                  <a:lnTo>
                    <a:pt x="1665" y="3620"/>
                  </a:lnTo>
                  <a:lnTo>
                    <a:pt x="1814" y="3626"/>
                  </a:lnTo>
                  <a:lnTo>
                    <a:pt x="1963" y="3620"/>
                  </a:lnTo>
                  <a:lnTo>
                    <a:pt x="2108" y="3603"/>
                  </a:lnTo>
                  <a:lnTo>
                    <a:pt x="2250" y="3574"/>
                  </a:lnTo>
                  <a:lnTo>
                    <a:pt x="2388" y="3534"/>
                  </a:lnTo>
                  <a:lnTo>
                    <a:pt x="2520" y="3484"/>
                  </a:lnTo>
                  <a:lnTo>
                    <a:pt x="2648" y="3424"/>
                  </a:lnTo>
                  <a:lnTo>
                    <a:pt x="2770" y="3355"/>
                  </a:lnTo>
                  <a:lnTo>
                    <a:pt x="2886" y="3277"/>
                  </a:lnTo>
                  <a:lnTo>
                    <a:pt x="2995" y="3190"/>
                  </a:lnTo>
                  <a:lnTo>
                    <a:pt x="3097" y="3095"/>
                  </a:lnTo>
                  <a:lnTo>
                    <a:pt x="3192" y="2993"/>
                  </a:lnTo>
                  <a:lnTo>
                    <a:pt x="3279" y="2884"/>
                  </a:lnTo>
                  <a:lnTo>
                    <a:pt x="3357" y="2768"/>
                  </a:lnTo>
                  <a:lnTo>
                    <a:pt x="3426" y="2647"/>
                  </a:lnTo>
                  <a:lnTo>
                    <a:pt x="3486" y="2519"/>
                  </a:lnTo>
                  <a:lnTo>
                    <a:pt x="3536" y="2386"/>
                  </a:lnTo>
                  <a:lnTo>
                    <a:pt x="3576" y="2249"/>
                  </a:lnTo>
                  <a:lnTo>
                    <a:pt x="3605" y="2107"/>
                  </a:lnTo>
                  <a:lnTo>
                    <a:pt x="3623" y="1962"/>
                  </a:lnTo>
                  <a:lnTo>
                    <a:pt x="3629" y="1813"/>
                  </a:lnTo>
                  <a:lnTo>
                    <a:pt x="3623" y="1665"/>
                  </a:lnTo>
                  <a:lnTo>
                    <a:pt x="3605" y="1519"/>
                  </a:lnTo>
                  <a:lnTo>
                    <a:pt x="3576" y="1378"/>
                  </a:lnTo>
                  <a:lnTo>
                    <a:pt x="3536" y="1240"/>
                  </a:lnTo>
                  <a:lnTo>
                    <a:pt x="3486" y="1108"/>
                  </a:lnTo>
                  <a:lnTo>
                    <a:pt x="3426" y="980"/>
                  </a:lnTo>
                  <a:lnTo>
                    <a:pt x="3357" y="858"/>
                  </a:lnTo>
                  <a:lnTo>
                    <a:pt x="3279" y="742"/>
                  </a:lnTo>
                  <a:lnTo>
                    <a:pt x="3192" y="633"/>
                  </a:lnTo>
                  <a:lnTo>
                    <a:pt x="3097" y="531"/>
                  </a:lnTo>
                  <a:lnTo>
                    <a:pt x="2995" y="437"/>
                  </a:lnTo>
                  <a:lnTo>
                    <a:pt x="2886" y="350"/>
                  </a:lnTo>
                  <a:lnTo>
                    <a:pt x="2770" y="272"/>
                  </a:lnTo>
                  <a:lnTo>
                    <a:pt x="2648" y="202"/>
                  </a:lnTo>
                  <a:lnTo>
                    <a:pt x="2520" y="143"/>
                  </a:lnTo>
                  <a:lnTo>
                    <a:pt x="2388" y="93"/>
                  </a:lnTo>
                  <a:lnTo>
                    <a:pt x="2250" y="53"/>
                  </a:lnTo>
                  <a:lnTo>
                    <a:pt x="2108" y="24"/>
                  </a:lnTo>
                  <a:lnTo>
                    <a:pt x="1963" y="6"/>
                  </a:lnTo>
                  <a:lnTo>
                    <a:pt x="1814" y="0"/>
                  </a:lnTo>
                </a:path>
              </a:pathLst>
            </a:custGeom>
            <a:solidFill>
              <a:srgbClr val="C00000">
                <a:alpha val="15000"/>
              </a:srgbClr>
            </a:solidFill>
            <a:ln>
              <a:noFill/>
            </a:ln>
          </p:spPr>
          <p:txBody>
            <a:bodyPr vert="horz" wrap="square" lIns="91440" tIns="45720" rIns="91440" bIns="45720" numCol="1" anchor="t" anchorCtr="0" compatLnSpc="1">
              <a:prstTxWarp prst="textNoShape">
                <a:avLst/>
              </a:prstTxWarp>
            </a:bodyPr>
            <a:lstStyle/>
            <a:p>
              <a:endParaRPr lang="en-IN"/>
            </a:p>
          </p:txBody>
        </p:sp>
        <p:sp>
          <p:nvSpPr>
            <p:cNvPr id="27" name="Freeform 6"/>
            <p:cNvSpPr>
              <a:spLocks/>
            </p:cNvSpPr>
            <p:nvPr/>
          </p:nvSpPr>
          <p:spPr bwMode="gray">
            <a:xfrm>
              <a:off x="3494744" y="1874110"/>
              <a:ext cx="2013780" cy="2012263"/>
            </a:xfrm>
            <a:custGeom>
              <a:avLst/>
              <a:gdLst>
                <a:gd name="T0" fmla="+- 0 11153 11147"/>
                <a:gd name="T1" fmla="*/ T0 w 3629"/>
                <a:gd name="T2" fmla="+- 0 668 -997"/>
                <a:gd name="T3" fmla="*/ 668 h 3626"/>
                <a:gd name="T4" fmla="+- 0 11200 11147"/>
                <a:gd name="T5" fmla="*/ T4 w 3629"/>
                <a:gd name="T6" fmla="+- 0 381 -997"/>
                <a:gd name="T7" fmla="*/ 381 h 3626"/>
                <a:gd name="T8" fmla="+- 0 11289 11147"/>
                <a:gd name="T9" fmla="*/ T8 w 3629"/>
                <a:gd name="T10" fmla="+- 0 111 -997"/>
                <a:gd name="T11" fmla="*/ 111 h 3626"/>
                <a:gd name="T12" fmla="+- 0 11419 11147"/>
                <a:gd name="T13" fmla="*/ T12 w 3629"/>
                <a:gd name="T14" fmla="+- 0 -139 -997"/>
                <a:gd name="T15" fmla="*/ -139 h 3626"/>
                <a:gd name="T16" fmla="+- 0 11584 11147"/>
                <a:gd name="T17" fmla="*/ T16 w 3629"/>
                <a:gd name="T18" fmla="+- 0 -364 -997"/>
                <a:gd name="T19" fmla="*/ -364 h 3626"/>
                <a:gd name="T20" fmla="+- 0 11780 11147"/>
                <a:gd name="T21" fmla="*/ T20 w 3629"/>
                <a:gd name="T22" fmla="+- 0 -560 -997"/>
                <a:gd name="T23" fmla="*/ -560 h 3626"/>
                <a:gd name="T24" fmla="+- 0 12005 11147"/>
                <a:gd name="T25" fmla="*/ T24 w 3629"/>
                <a:gd name="T26" fmla="+- 0 -725 -997"/>
                <a:gd name="T27" fmla="*/ -725 h 3626"/>
                <a:gd name="T28" fmla="+- 0 12255 11147"/>
                <a:gd name="T29" fmla="*/ T28 w 3629"/>
                <a:gd name="T30" fmla="+- 0 -854 -997"/>
                <a:gd name="T31" fmla="*/ -854 h 3626"/>
                <a:gd name="T32" fmla="+- 0 12525 11147"/>
                <a:gd name="T33" fmla="*/ T32 w 3629"/>
                <a:gd name="T34" fmla="+- 0 -944 -997"/>
                <a:gd name="T35" fmla="*/ -944 h 3626"/>
                <a:gd name="T36" fmla="+- 0 12812 11147"/>
                <a:gd name="T37" fmla="*/ T36 w 3629"/>
                <a:gd name="T38" fmla="+- 0 -991 -997"/>
                <a:gd name="T39" fmla="*/ -991 h 3626"/>
                <a:gd name="T40" fmla="+- 0 13110 11147"/>
                <a:gd name="T41" fmla="*/ T40 w 3629"/>
                <a:gd name="T42" fmla="+- 0 -991 -997"/>
                <a:gd name="T43" fmla="*/ -991 h 3626"/>
                <a:gd name="T44" fmla="+- 0 13397 11147"/>
                <a:gd name="T45" fmla="*/ T44 w 3629"/>
                <a:gd name="T46" fmla="+- 0 -944 -997"/>
                <a:gd name="T47" fmla="*/ -944 h 3626"/>
                <a:gd name="T48" fmla="+- 0 13667 11147"/>
                <a:gd name="T49" fmla="*/ T48 w 3629"/>
                <a:gd name="T50" fmla="+- 0 -854 -997"/>
                <a:gd name="T51" fmla="*/ -854 h 3626"/>
                <a:gd name="T52" fmla="+- 0 13917 11147"/>
                <a:gd name="T53" fmla="*/ T52 w 3629"/>
                <a:gd name="T54" fmla="+- 0 -725 -997"/>
                <a:gd name="T55" fmla="*/ -725 h 3626"/>
                <a:gd name="T56" fmla="+- 0 14142 11147"/>
                <a:gd name="T57" fmla="*/ T56 w 3629"/>
                <a:gd name="T58" fmla="+- 0 -560 -997"/>
                <a:gd name="T59" fmla="*/ -560 h 3626"/>
                <a:gd name="T60" fmla="+- 0 14339 11147"/>
                <a:gd name="T61" fmla="*/ T60 w 3629"/>
                <a:gd name="T62" fmla="+- 0 -364 -997"/>
                <a:gd name="T63" fmla="*/ -364 h 3626"/>
                <a:gd name="T64" fmla="+- 0 14504 11147"/>
                <a:gd name="T65" fmla="*/ T64 w 3629"/>
                <a:gd name="T66" fmla="+- 0 -139 -997"/>
                <a:gd name="T67" fmla="*/ -139 h 3626"/>
                <a:gd name="T68" fmla="+- 0 14633 11147"/>
                <a:gd name="T69" fmla="*/ T68 w 3629"/>
                <a:gd name="T70" fmla="+- 0 111 -997"/>
                <a:gd name="T71" fmla="*/ 111 h 3626"/>
                <a:gd name="T72" fmla="+- 0 14723 11147"/>
                <a:gd name="T73" fmla="*/ T72 w 3629"/>
                <a:gd name="T74" fmla="+- 0 381 -997"/>
                <a:gd name="T75" fmla="*/ 381 h 3626"/>
                <a:gd name="T76" fmla="+- 0 14770 11147"/>
                <a:gd name="T77" fmla="*/ T76 w 3629"/>
                <a:gd name="T78" fmla="+- 0 668 -997"/>
                <a:gd name="T79" fmla="*/ 668 h 3626"/>
                <a:gd name="T80" fmla="+- 0 14770 11147"/>
                <a:gd name="T81" fmla="*/ T80 w 3629"/>
                <a:gd name="T82" fmla="+- 0 965 -997"/>
                <a:gd name="T83" fmla="*/ 965 h 3626"/>
                <a:gd name="T84" fmla="+- 0 14723 11147"/>
                <a:gd name="T85" fmla="*/ T84 w 3629"/>
                <a:gd name="T86" fmla="+- 0 1252 -997"/>
                <a:gd name="T87" fmla="*/ 1252 h 3626"/>
                <a:gd name="T88" fmla="+- 0 14633 11147"/>
                <a:gd name="T89" fmla="*/ T88 w 3629"/>
                <a:gd name="T90" fmla="+- 0 1522 -997"/>
                <a:gd name="T91" fmla="*/ 1522 h 3626"/>
                <a:gd name="T92" fmla="+- 0 14504 11147"/>
                <a:gd name="T93" fmla="*/ T92 w 3629"/>
                <a:gd name="T94" fmla="+- 0 1771 -997"/>
                <a:gd name="T95" fmla="*/ 1771 h 3626"/>
                <a:gd name="T96" fmla="+- 0 14339 11147"/>
                <a:gd name="T97" fmla="*/ T96 w 3629"/>
                <a:gd name="T98" fmla="+- 0 1996 -997"/>
                <a:gd name="T99" fmla="*/ 1996 h 3626"/>
                <a:gd name="T100" fmla="+- 0 14142 11147"/>
                <a:gd name="T101" fmla="*/ T100 w 3629"/>
                <a:gd name="T102" fmla="+- 0 2193 -997"/>
                <a:gd name="T103" fmla="*/ 2193 h 3626"/>
                <a:gd name="T104" fmla="+- 0 13917 11147"/>
                <a:gd name="T105" fmla="*/ T104 w 3629"/>
                <a:gd name="T106" fmla="+- 0 2358 -997"/>
                <a:gd name="T107" fmla="*/ 2358 h 3626"/>
                <a:gd name="T108" fmla="+- 0 13667 11147"/>
                <a:gd name="T109" fmla="*/ T108 w 3629"/>
                <a:gd name="T110" fmla="+- 0 2487 -997"/>
                <a:gd name="T111" fmla="*/ 2487 h 3626"/>
                <a:gd name="T112" fmla="+- 0 13397 11147"/>
                <a:gd name="T113" fmla="*/ T112 w 3629"/>
                <a:gd name="T114" fmla="+- 0 2577 -997"/>
                <a:gd name="T115" fmla="*/ 2577 h 3626"/>
                <a:gd name="T116" fmla="+- 0 13110 11147"/>
                <a:gd name="T117" fmla="*/ T116 w 3629"/>
                <a:gd name="T118" fmla="+- 0 2623 -997"/>
                <a:gd name="T119" fmla="*/ 2623 h 3626"/>
                <a:gd name="T120" fmla="+- 0 12812 11147"/>
                <a:gd name="T121" fmla="*/ T120 w 3629"/>
                <a:gd name="T122" fmla="+- 0 2623 -997"/>
                <a:gd name="T123" fmla="*/ 2623 h 3626"/>
                <a:gd name="T124" fmla="+- 0 12525 11147"/>
                <a:gd name="T125" fmla="*/ T124 w 3629"/>
                <a:gd name="T126" fmla="+- 0 2577 -997"/>
                <a:gd name="T127" fmla="*/ 2577 h 3626"/>
                <a:gd name="T128" fmla="+- 0 12255 11147"/>
                <a:gd name="T129" fmla="*/ T128 w 3629"/>
                <a:gd name="T130" fmla="+- 0 2487 -997"/>
                <a:gd name="T131" fmla="*/ 2487 h 3626"/>
                <a:gd name="T132" fmla="+- 0 12005 11147"/>
                <a:gd name="T133" fmla="*/ T132 w 3629"/>
                <a:gd name="T134" fmla="+- 0 2358 -997"/>
                <a:gd name="T135" fmla="*/ 2358 h 3626"/>
                <a:gd name="T136" fmla="+- 0 11780 11147"/>
                <a:gd name="T137" fmla="*/ T136 w 3629"/>
                <a:gd name="T138" fmla="+- 0 2193 -997"/>
                <a:gd name="T139" fmla="*/ 2193 h 3626"/>
                <a:gd name="T140" fmla="+- 0 11584 11147"/>
                <a:gd name="T141" fmla="*/ T140 w 3629"/>
                <a:gd name="T142" fmla="+- 0 1996 -997"/>
                <a:gd name="T143" fmla="*/ 1996 h 3626"/>
                <a:gd name="T144" fmla="+- 0 11419 11147"/>
                <a:gd name="T145" fmla="*/ T144 w 3629"/>
                <a:gd name="T146" fmla="+- 0 1771 -997"/>
                <a:gd name="T147" fmla="*/ 1771 h 3626"/>
                <a:gd name="T148" fmla="+- 0 11289 11147"/>
                <a:gd name="T149" fmla="*/ T148 w 3629"/>
                <a:gd name="T150" fmla="+- 0 1522 -997"/>
                <a:gd name="T151" fmla="*/ 1522 h 3626"/>
                <a:gd name="T152" fmla="+- 0 11200 11147"/>
                <a:gd name="T153" fmla="*/ T152 w 3629"/>
                <a:gd name="T154" fmla="+- 0 1252 -997"/>
                <a:gd name="T155" fmla="*/ 1252 h 3626"/>
                <a:gd name="T156" fmla="+- 0 11153 11147"/>
                <a:gd name="T157" fmla="*/ T156 w 3629"/>
                <a:gd name="T158" fmla="+- 0 965 -997"/>
                <a:gd name="T159" fmla="*/ 965 h 362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3629" h="3626">
                  <a:moveTo>
                    <a:pt x="0" y="1813"/>
                  </a:moveTo>
                  <a:lnTo>
                    <a:pt x="6" y="1665"/>
                  </a:lnTo>
                  <a:lnTo>
                    <a:pt x="24" y="1519"/>
                  </a:lnTo>
                  <a:lnTo>
                    <a:pt x="53" y="1378"/>
                  </a:lnTo>
                  <a:lnTo>
                    <a:pt x="92" y="1240"/>
                  </a:lnTo>
                  <a:lnTo>
                    <a:pt x="142" y="1108"/>
                  </a:lnTo>
                  <a:lnTo>
                    <a:pt x="202" y="980"/>
                  </a:lnTo>
                  <a:lnTo>
                    <a:pt x="272" y="858"/>
                  </a:lnTo>
                  <a:lnTo>
                    <a:pt x="350" y="742"/>
                  </a:lnTo>
                  <a:lnTo>
                    <a:pt x="437" y="633"/>
                  </a:lnTo>
                  <a:lnTo>
                    <a:pt x="531" y="531"/>
                  </a:lnTo>
                  <a:lnTo>
                    <a:pt x="633" y="437"/>
                  </a:lnTo>
                  <a:lnTo>
                    <a:pt x="743" y="350"/>
                  </a:lnTo>
                  <a:lnTo>
                    <a:pt x="858" y="272"/>
                  </a:lnTo>
                  <a:lnTo>
                    <a:pt x="980" y="202"/>
                  </a:lnTo>
                  <a:lnTo>
                    <a:pt x="1108" y="143"/>
                  </a:lnTo>
                  <a:lnTo>
                    <a:pt x="1241" y="93"/>
                  </a:lnTo>
                  <a:lnTo>
                    <a:pt x="1378" y="53"/>
                  </a:lnTo>
                  <a:lnTo>
                    <a:pt x="1520" y="24"/>
                  </a:lnTo>
                  <a:lnTo>
                    <a:pt x="1665" y="6"/>
                  </a:lnTo>
                  <a:lnTo>
                    <a:pt x="1814" y="0"/>
                  </a:lnTo>
                  <a:lnTo>
                    <a:pt x="1963" y="6"/>
                  </a:lnTo>
                  <a:lnTo>
                    <a:pt x="2108" y="24"/>
                  </a:lnTo>
                  <a:lnTo>
                    <a:pt x="2250" y="53"/>
                  </a:lnTo>
                  <a:lnTo>
                    <a:pt x="2388" y="93"/>
                  </a:lnTo>
                  <a:lnTo>
                    <a:pt x="2520" y="143"/>
                  </a:lnTo>
                  <a:lnTo>
                    <a:pt x="2648" y="202"/>
                  </a:lnTo>
                  <a:lnTo>
                    <a:pt x="2770" y="272"/>
                  </a:lnTo>
                  <a:lnTo>
                    <a:pt x="2886" y="350"/>
                  </a:lnTo>
                  <a:lnTo>
                    <a:pt x="2995" y="437"/>
                  </a:lnTo>
                  <a:lnTo>
                    <a:pt x="3097" y="531"/>
                  </a:lnTo>
                  <a:lnTo>
                    <a:pt x="3192" y="633"/>
                  </a:lnTo>
                  <a:lnTo>
                    <a:pt x="3279" y="742"/>
                  </a:lnTo>
                  <a:lnTo>
                    <a:pt x="3357" y="858"/>
                  </a:lnTo>
                  <a:lnTo>
                    <a:pt x="3426" y="980"/>
                  </a:lnTo>
                  <a:lnTo>
                    <a:pt x="3486" y="1108"/>
                  </a:lnTo>
                  <a:lnTo>
                    <a:pt x="3536" y="1240"/>
                  </a:lnTo>
                  <a:lnTo>
                    <a:pt x="3576" y="1378"/>
                  </a:lnTo>
                  <a:lnTo>
                    <a:pt x="3605" y="1519"/>
                  </a:lnTo>
                  <a:lnTo>
                    <a:pt x="3623" y="1665"/>
                  </a:lnTo>
                  <a:lnTo>
                    <a:pt x="3629" y="1813"/>
                  </a:lnTo>
                  <a:lnTo>
                    <a:pt x="3623" y="1962"/>
                  </a:lnTo>
                  <a:lnTo>
                    <a:pt x="3605" y="2107"/>
                  </a:lnTo>
                  <a:lnTo>
                    <a:pt x="3576" y="2249"/>
                  </a:lnTo>
                  <a:lnTo>
                    <a:pt x="3536" y="2386"/>
                  </a:lnTo>
                  <a:lnTo>
                    <a:pt x="3486" y="2519"/>
                  </a:lnTo>
                  <a:lnTo>
                    <a:pt x="3426" y="2647"/>
                  </a:lnTo>
                  <a:lnTo>
                    <a:pt x="3357" y="2768"/>
                  </a:lnTo>
                  <a:lnTo>
                    <a:pt x="3279" y="2884"/>
                  </a:lnTo>
                  <a:lnTo>
                    <a:pt x="3192" y="2993"/>
                  </a:lnTo>
                  <a:lnTo>
                    <a:pt x="3097" y="3095"/>
                  </a:lnTo>
                  <a:lnTo>
                    <a:pt x="2995" y="3190"/>
                  </a:lnTo>
                  <a:lnTo>
                    <a:pt x="2886" y="3277"/>
                  </a:lnTo>
                  <a:lnTo>
                    <a:pt x="2770" y="3355"/>
                  </a:lnTo>
                  <a:lnTo>
                    <a:pt x="2648" y="3424"/>
                  </a:lnTo>
                  <a:lnTo>
                    <a:pt x="2520" y="3484"/>
                  </a:lnTo>
                  <a:lnTo>
                    <a:pt x="2388" y="3534"/>
                  </a:lnTo>
                  <a:lnTo>
                    <a:pt x="2250" y="3574"/>
                  </a:lnTo>
                  <a:lnTo>
                    <a:pt x="2108" y="3603"/>
                  </a:lnTo>
                  <a:lnTo>
                    <a:pt x="1963" y="3620"/>
                  </a:lnTo>
                  <a:lnTo>
                    <a:pt x="1814" y="3626"/>
                  </a:lnTo>
                  <a:lnTo>
                    <a:pt x="1665" y="3620"/>
                  </a:lnTo>
                  <a:lnTo>
                    <a:pt x="1520" y="3603"/>
                  </a:lnTo>
                  <a:lnTo>
                    <a:pt x="1378" y="3574"/>
                  </a:lnTo>
                  <a:lnTo>
                    <a:pt x="1241" y="3534"/>
                  </a:lnTo>
                  <a:lnTo>
                    <a:pt x="1108" y="3484"/>
                  </a:lnTo>
                  <a:lnTo>
                    <a:pt x="980" y="3424"/>
                  </a:lnTo>
                  <a:lnTo>
                    <a:pt x="858" y="3355"/>
                  </a:lnTo>
                  <a:lnTo>
                    <a:pt x="743" y="3277"/>
                  </a:lnTo>
                  <a:lnTo>
                    <a:pt x="633" y="3190"/>
                  </a:lnTo>
                  <a:lnTo>
                    <a:pt x="531" y="3095"/>
                  </a:lnTo>
                  <a:lnTo>
                    <a:pt x="437" y="2993"/>
                  </a:lnTo>
                  <a:lnTo>
                    <a:pt x="350" y="2884"/>
                  </a:lnTo>
                  <a:lnTo>
                    <a:pt x="272" y="2768"/>
                  </a:lnTo>
                  <a:lnTo>
                    <a:pt x="202" y="2647"/>
                  </a:lnTo>
                  <a:lnTo>
                    <a:pt x="142" y="2519"/>
                  </a:lnTo>
                  <a:lnTo>
                    <a:pt x="92" y="2386"/>
                  </a:lnTo>
                  <a:lnTo>
                    <a:pt x="53" y="2249"/>
                  </a:lnTo>
                  <a:lnTo>
                    <a:pt x="24" y="2107"/>
                  </a:lnTo>
                  <a:lnTo>
                    <a:pt x="6" y="1962"/>
                  </a:lnTo>
                  <a:lnTo>
                    <a:pt x="0" y="1813"/>
                  </a:lnTo>
                  <a:close/>
                </a:path>
              </a:pathLst>
            </a:custGeom>
            <a:solidFill>
              <a:schemeClr val="bg2">
                <a:alpha val="15000"/>
              </a:schemeClr>
            </a:solidFill>
            <a:ln w="25908">
              <a:solidFill>
                <a:srgbClr val="FFFFFF"/>
              </a:solid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6" name="Freeform 8"/>
            <p:cNvSpPr>
              <a:spLocks/>
            </p:cNvSpPr>
            <p:nvPr/>
          </p:nvSpPr>
          <p:spPr bwMode="gray">
            <a:xfrm>
              <a:off x="4148432" y="2250924"/>
              <a:ext cx="2012115" cy="2012263"/>
            </a:xfrm>
            <a:custGeom>
              <a:avLst/>
              <a:gdLst>
                <a:gd name="T0" fmla="+- 0 13990 12325"/>
                <a:gd name="T1" fmla="*/ T0 w 3626"/>
                <a:gd name="T2" fmla="+- 0 -312 -318"/>
                <a:gd name="T3" fmla="*/ -312 h 3626"/>
                <a:gd name="T4" fmla="+- 0 13703 12325"/>
                <a:gd name="T5" fmla="*/ T4 w 3626"/>
                <a:gd name="T6" fmla="+- 0 -265 -318"/>
                <a:gd name="T7" fmla="*/ -265 h 3626"/>
                <a:gd name="T8" fmla="+- 0 13433 12325"/>
                <a:gd name="T9" fmla="*/ T8 w 3626"/>
                <a:gd name="T10" fmla="+- 0 -175 -318"/>
                <a:gd name="T11" fmla="*/ -175 h 3626"/>
                <a:gd name="T12" fmla="+- 0 13183 12325"/>
                <a:gd name="T13" fmla="*/ T12 w 3626"/>
                <a:gd name="T14" fmla="+- 0 -46 -318"/>
                <a:gd name="T15" fmla="*/ -46 h 3626"/>
                <a:gd name="T16" fmla="+- 0 12958 12325"/>
                <a:gd name="T17" fmla="*/ T16 w 3626"/>
                <a:gd name="T18" fmla="+- 0 119 -318"/>
                <a:gd name="T19" fmla="*/ 119 h 3626"/>
                <a:gd name="T20" fmla="+- 0 12762 12325"/>
                <a:gd name="T21" fmla="*/ T20 w 3626"/>
                <a:gd name="T22" fmla="+- 0 315 -318"/>
                <a:gd name="T23" fmla="*/ 315 h 3626"/>
                <a:gd name="T24" fmla="+- 0 12597 12325"/>
                <a:gd name="T25" fmla="*/ T24 w 3626"/>
                <a:gd name="T26" fmla="+- 0 540 -318"/>
                <a:gd name="T27" fmla="*/ 540 h 3626"/>
                <a:gd name="T28" fmla="+- 0 12468 12325"/>
                <a:gd name="T29" fmla="*/ T28 w 3626"/>
                <a:gd name="T30" fmla="+- 0 790 -318"/>
                <a:gd name="T31" fmla="*/ 790 h 3626"/>
                <a:gd name="T32" fmla="+- 0 12378 12325"/>
                <a:gd name="T33" fmla="*/ T32 w 3626"/>
                <a:gd name="T34" fmla="+- 0 1060 -318"/>
                <a:gd name="T35" fmla="*/ 1060 h 3626"/>
                <a:gd name="T36" fmla="+- 0 12331 12325"/>
                <a:gd name="T37" fmla="*/ T36 w 3626"/>
                <a:gd name="T38" fmla="+- 0 1347 -318"/>
                <a:gd name="T39" fmla="*/ 1347 h 3626"/>
                <a:gd name="T40" fmla="+- 0 12331 12325"/>
                <a:gd name="T41" fmla="*/ T40 w 3626"/>
                <a:gd name="T42" fmla="+- 0 1644 -318"/>
                <a:gd name="T43" fmla="*/ 1644 h 3626"/>
                <a:gd name="T44" fmla="+- 0 12378 12325"/>
                <a:gd name="T45" fmla="*/ T44 w 3626"/>
                <a:gd name="T46" fmla="+- 0 1931 -318"/>
                <a:gd name="T47" fmla="*/ 1931 h 3626"/>
                <a:gd name="T48" fmla="+- 0 12468 12325"/>
                <a:gd name="T49" fmla="*/ T48 w 3626"/>
                <a:gd name="T50" fmla="+- 0 2201 -318"/>
                <a:gd name="T51" fmla="*/ 2201 h 3626"/>
                <a:gd name="T52" fmla="+- 0 12597 12325"/>
                <a:gd name="T53" fmla="*/ T52 w 3626"/>
                <a:gd name="T54" fmla="+- 0 2451 -318"/>
                <a:gd name="T55" fmla="*/ 2451 h 3626"/>
                <a:gd name="T56" fmla="+- 0 12762 12325"/>
                <a:gd name="T57" fmla="*/ T56 w 3626"/>
                <a:gd name="T58" fmla="+- 0 2676 -318"/>
                <a:gd name="T59" fmla="*/ 2676 h 3626"/>
                <a:gd name="T60" fmla="+- 0 12958 12325"/>
                <a:gd name="T61" fmla="*/ T60 w 3626"/>
                <a:gd name="T62" fmla="+- 0 2872 -318"/>
                <a:gd name="T63" fmla="*/ 2872 h 3626"/>
                <a:gd name="T64" fmla="+- 0 13183 12325"/>
                <a:gd name="T65" fmla="*/ T64 w 3626"/>
                <a:gd name="T66" fmla="+- 0 3037 -318"/>
                <a:gd name="T67" fmla="*/ 3037 h 3626"/>
                <a:gd name="T68" fmla="+- 0 13433 12325"/>
                <a:gd name="T69" fmla="*/ T68 w 3626"/>
                <a:gd name="T70" fmla="+- 0 3166 -318"/>
                <a:gd name="T71" fmla="*/ 3166 h 3626"/>
                <a:gd name="T72" fmla="+- 0 13703 12325"/>
                <a:gd name="T73" fmla="*/ T72 w 3626"/>
                <a:gd name="T74" fmla="+- 0 3256 -318"/>
                <a:gd name="T75" fmla="*/ 3256 h 3626"/>
                <a:gd name="T76" fmla="+- 0 13990 12325"/>
                <a:gd name="T77" fmla="*/ T76 w 3626"/>
                <a:gd name="T78" fmla="+- 0 3303 -318"/>
                <a:gd name="T79" fmla="*/ 3303 h 3626"/>
                <a:gd name="T80" fmla="+- 0 14287 12325"/>
                <a:gd name="T81" fmla="*/ T80 w 3626"/>
                <a:gd name="T82" fmla="+- 0 3303 -318"/>
                <a:gd name="T83" fmla="*/ 3303 h 3626"/>
                <a:gd name="T84" fmla="+- 0 14574 12325"/>
                <a:gd name="T85" fmla="*/ T84 w 3626"/>
                <a:gd name="T86" fmla="+- 0 3256 -318"/>
                <a:gd name="T87" fmla="*/ 3256 h 3626"/>
                <a:gd name="T88" fmla="+- 0 14844 12325"/>
                <a:gd name="T89" fmla="*/ T88 w 3626"/>
                <a:gd name="T90" fmla="+- 0 3166 -318"/>
                <a:gd name="T91" fmla="*/ 3166 h 3626"/>
                <a:gd name="T92" fmla="+- 0 15094 12325"/>
                <a:gd name="T93" fmla="*/ T92 w 3626"/>
                <a:gd name="T94" fmla="+- 0 3037 -318"/>
                <a:gd name="T95" fmla="*/ 3037 h 3626"/>
                <a:gd name="T96" fmla="+- 0 15318 12325"/>
                <a:gd name="T97" fmla="*/ T96 w 3626"/>
                <a:gd name="T98" fmla="+- 0 2872 -318"/>
                <a:gd name="T99" fmla="*/ 2872 h 3626"/>
                <a:gd name="T100" fmla="+- 0 15515 12325"/>
                <a:gd name="T101" fmla="*/ T100 w 3626"/>
                <a:gd name="T102" fmla="+- 0 2676 -318"/>
                <a:gd name="T103" fmla="*/ 2676 h 3626"/>
                <a:gd name="T104" fmla="+- 0 15680 12325"/>
                <a:gd name="T105" fmla="*/ T104 w 3626"/>
                <a:gd name="T106" fmla="+- 0 2451 -318"/>
                <a:gd name="T107" fmla="*/ 2451 h 3626"/>
                <a:gd name="T108" fmla="+- 0 15809 12325"/>
                <a:gd name="T109" fmla="*/ T108 w 3626"/>
                <a:gd name="T110" fmla="+- 0 2201 -318"/>
                <a:gd name="T111" fmla="*/ 2201 h 3626"/>
                <a:gd name="T112" fmla="+- 0 15899 12325"/>
                <a:gd name="T113" fmla="*/ T112 w 3626"/>
                <a:gd name="T114" fmla="+- 0 1931 -318"/>
                <a:gd name="T115" fmla="*/ 1931 h 3626"/>
                <a:gd name="T116" fmla="+- 0 15946 12325"/>
                <a:gd name="T117" fmla="*/ T116 w 3626"/>
                <a:gd name="T118" fmla="+- 0 1644 -318"/>
                <a:gd name="T119" fmla="*/ 1644 h 3626"/>
                <a:gd name="T120" fmla="+- 0 15946 12325"/>
                <a:gd name="T121" fmla="*/ T120 w 3626"/>
                <a:gd name="T122" fmla="+- 0 1347 -318"/>
                <a:gd name="T123" fmla="*/ 1347 h 3626"/>
                <a:gd name="T124" fmla="+- 0 15899 12325"/>
                <a:gd name="T125" fmla="*/ T124 w 3626"/>
                <a:gd name="T126" fmla="+- 0 1060 -318"/>
                <a:gd name="T127" fmla="*/ 1060 h 3626"/>
                <a:gd name="T128" fmla="+- 0 15809 12325"/>
                <a:gd name="T129" fmla="*/ T128 w 3626"/>
                <a:gd name="T130" fmla="+- 0 790 -318"/>
                <a:gd name="T131" fmla="*/ 790 h 3626"/>
                <a:gd name="T132" fmla="+- 0 15680 12325"/>
                <a:gd name="T133" fmla="*/ T132 w 3626"/>
                <a:gd name="T134" fmla="+- 0 540 -318"/>
                <a:gd name="T135" fmla="*/ 540 h 3626"/>
                <a:gd name="T136" fmla="+- 0 15515 12325"/>
                <a:gd name="T137" fmla="*/ T136 w 3626"/>
                <a:gd name="T138" fmla="+- 0 315 -318"/>
                <a:gd name="T139" fmla="*/ 315 h 3626"/>
                <a:gd name="T140" fmla="+- 0 15318 12325"/>
                <a:gd name="T141" fmla="*/ T140 w 3626"/>
                <a:gd name="T142" fmla="+- 0 119 -318"/>
                <a:gd name="T143" fmla="*/ 119 h 3626"/>
                <a:gd name="T144" fmla="+- 0 15094 12325"/>
                <a:gd name="T145" fmla="*/ T144 w 3626"/>
                <a:gd name="T146" fmla="+- 0 -46 -318"/>
                <a:gd name="T147" fmla="*/ -46 h 3626"/>
                <a:gd name="T148" fmla="+- 0 14844 12325"/>
                <a:gd name="T149" fmla="*/ T148 w 3626"/>
                <a:gd name="T150" fmla="+- 0 -175 -318"/>
                <a:gd name="T151" fmla="*/ -175 h 3626"/>
                <a:gd name="T152" fmla="+- 0 14574 12325"/>
                <a:gd name="T153" fmla="*/ T152 w 3626"/>
                <a:gd name="T154" fmla="+- 0 -265 -318"/>
                <a:gd name="T155" fmla="*/ -265 h 3626"/>
                <a:gd name="T156" fmla="+- 0 14287 12325"/>
                <a:gd name="T157" fmla="*/ T156 w 3626"/>
                <a:gd name="T158" fmla="+- 0 -312 -318"/>
                <a:gd name="T159" fmla="*/ -312 h 362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3626" h="3626">
                  <a:moveTo>
                    <a:pt x="1813" y="0"/>
                  </a:moveTo>
                  <a:lnTo>
                    <a:pt x="1665" y="6"/>
                  </a:lnTo>
                  <a:lnTo>
                    <a:pt x="1519" y="24"/>
                  </a:lnTo>
                  <a:lnTo>
                    <a:pt x="1378" y="53"/>
                  </a:lnTo>
                  <a:lnTo>
                    <a:pt x="1240" y="93"/>
                  </a:lnTo>
                  <a:lnTo>
                    <a:pt x="1108" y="143"/>
                  </a:lnTo>
                  <a:lnTo>
                    <a:pt x="980" y="203"/>
                  </a:lnTo>
                  <a:lnTo>
                    <a:pt x="858" y="272"/>
                  </a:lnTo>
                  <a:lnTo>
                    <a:pt x="743" y="350"/>
                  </a:lnTo>
                  <a:lnTo>
                    <a:pt x="633" y="437"/>
                  </a:lnTo>
                  <a:lnTo>
                    <a:pt x="531" y="531"/>
                  </a:lnTo>
                  <a:lnTo>
                    <a:pt x="437" y="633"/>
                  </a:lnTo>
                  <a:lnTo>
                    <a:pt x="350" y="743"/>
                  </a:lnTo>
                  <a:lnTo>
                    <a:pt x="272" y="858"/>
                  </a:lnTo>
                  <a:lnTo>
                    <a:pt x="203" y="980"/>
                  </a:lnTo>
                  <a:lnTo>
                    <a:pt x="143" y="1108"/>
                  </a:lnTo>
                  <a:lnTo>
                    <a:pt x="93" y="1240"/>
                  </a:lnTo>
                  <a:lnTo>
                    <a:pt x="53" y="1378"/>
                  </a:lnTo>
                  <a:lnTo>
                    <a:pt x="24" y="1519"/>
                  </a:lnTo>
                  <a:lnTo>
                    <a:pt x="6" y="1665"/>
                  </a:lnTo>
                  <a:lnTo>
                    <a:pt x="0" y="1813"/>
                  </a:lnTo>
                  <a:lnTo>
                    <a:pt x="6" y="1962"/>
                  </a:lnTo>
                  <a:lnTo>
                    <a:pt x="24" y="2108"/>
                  </a:lnTo>
                  <a:lnTo>
                    <a:pt x="53" y="2249"/>
                  </a:lnTo>
                  <a:lnTo>
                    <a:pt x="93" y="2387"/>
                  </a:lnTo>
                  <a:lnTo>
                    <a:pt x="143" y="2519"/>
                  </a:lnTo>
                  <a:lnTo>
                    <a:pt x="203" y="2647"/>
                  </a:lnTo>
                  <a:lnTo>
                    <a:pt x="272" y="2769"/>
                  </a:lnTo>
                  <a:lnTo>
                    <a:pt x="350" y="2884"/>
                  </a:lnTo>
                  <a:lnTo>
                    <a:pt x="437" y="2994"/>
                  </a:lnTo>
                  <a:lnTo>
                    <a:pt x="531" y="3096"/>
                  </a:lnTo>
                  <a:lnTo>
                    <a:pt x="633" y="3190"/>
                  </a:lnTo>
                  <a:lnTo>
                    <a:pt x="743" y="3277"/>
                  </a:lnTo>
                  <a:lnTo>
                    <a:pt x="858" y="3355"/>
                  </a:lnTo>
                  <a:lnTo>
                    <a:pt x="980" y="3424"/>
                  </a:lnTo>
                  <a:lnTo>
                    <a:pt x="1108" y="3484"/>
                  </a:lnTo>
                  <a:lnTo>
                    <a:pt x="1240" y="3534"/>
                  </a:lnTo>
                  <a:lnTo>
                    <a:pt x="1378" y="3574"/>
                  </a:lnTo>
                  <a:lnTo>
                    <a:pt x="1519" y="3603"/>
                  </a:lnTo>
                  <a:lnTo>
                    <a:pt x="1665" y="3621"/>
                  </a:lnTo>
                  <a:lnTo>
                    <a:pt x="1813" y="3627"/>
                  </a:lnTo>
                  <a:lnTo>
                    <a:pt x="1962" y="3621"/>
                  </a:lnTo>
                  <a:lnTo>
                    <a:pt x="2108" y="3603"/>
                  </a:lnTo>
                  <a:lnTo>
                    <a:pt x="2249" y="3574"/>
                  </a:lnTo>
                  <a:lnTo>
                    <a:pt x="2387" y="3534"/>
                  </a:lnTo>
                  <a:lnTo>
                    <a:pt x="2519" y="3484"/>
                  </a:lnTo>
                  <a:lnTo>
                    <a:pt x="2647" y="3424"/>
                  </a:lnTo>
                  <a:lnTo>
                    <a:pt x="2769" y="3355"/>
                  </a:lnTo>
                  <a:lnTo>
                    <a:pt x="2884" y="3277"/>
                  </a:lnTo>
                  <a:lnTo>
                    <a:pt x="2993" y="3190"/>
                  </a:lnTo>
                  <a:lnTo>
                    <a:pt x="3096" y="3096"/>
                  </a:lnTo>
                  <a:lnTo>
                    <a:pt x="3190" y="2994"/>
                  </a:lnTo>
                  <a:lnTo>
                    <a:pt x="3277" y="2884"/>
                  </a:lnTo>
                  <a:lnTo>
                    <a:pt x="3355" y="2769"/>
                  </a:lnTo>
                  <a:lnTo>
                    <a:pt x="3424" y="2647"/>
                  </a:lnTo>
                  <a:lnTo>
                    <a:pt x="3484" y="2519"/>
                  </a:lnTo>
                  <a:lnTo>
                    <a:pt x="3534" y="2387"/>
                  </a:lnTo>
                  <a:lnTo>
                    <a:pt x="3574" y="2249"/>
                  </a:lnTo>
                  <a:lnTo>
                    <a:pt x="3603" y="2108"/>
                  </a:lnTo>
                  <a:lnTo>
                    <a:pt x="3621" y="1962"/>
                  </a:lnTo>
                  <a:lnTo>
                    <a:pt x="3627" y="1813"/>
                  </a:lnTo>
                  <a:lnTo>
                    <a:pt x="3621" y="1665"/>
                  </a:lnTo>
                  <a:lnTo>
                    <a:pt x="3603" y="1519"/>
                  </a:lnTo>
                  <a:lnTo>
                    <a:pt x="3574" y="1378"/>
                  </a:lnTo>
                  <a:lnTo>
                    <a:pt x="3534" y="1240"/>
                  </a:lnTo>
                  <a:lnTo>
                    <a:pt x="3484" y="1108"/>
                  </a:lnTo>
                  <a:lnTo>
                    <a:pt x="3424" y="980"/>
                  </a:lnTo>
                  <a:lnTo>
                    <a:pt x="3355" y="858"/>
                  </a:lnTo>
                  <a:lnTo>
                    <a:pt x="3277" y="743"/>
                  </a:lnTo>
                  <a:lnTo>
                    <a:pt x="3190" y="633"/>
                  </a:lnTo>
                  <a:lnTo>
                    <a:pt x="3096" y="531"/>
                  </a:lnTo>
                  <a:lnTo>
                    <a:pt x="2993" y="437"/>
                  </a:lnTo>
                  <a:lnTo>
                    <a:pt x="2884" y="350"/>
                  </a:lnTo>
                  <a:lnTo>
                    <a:pt x="2769" y="272"/>
                  </a:lnTo>
                  <a:lnTo>
                    <a:pt x="2647" y="203"/>
                  </a:lnTo>
                  <a:lnTo>
                    <a:pt x="2519" y="143"/>
                  </a:lnTo>
                  <a:lnTo>
                    <a:pt x="2387" y="93"/>
                  </a:lnTo>
                  <a:lnTo>
                    <a:pt x="2249" y="53"/>
                  </a:lnTo>
                  <a:lnTo>
                    <a:pt x="2108" y="24"/>
                  </a:lnTo>
                  <a:lnTo>
                    <a:pt x="1962" y="6"/>
                  </a:lnTo>
                  <a:lnTo>
                    <a:pt x="1813" y="0"/>
                  </a:lnTo>
                </a:path>
              </a:pathLst>
            </a:custGeom>
            <a:solidFill>
              <a:srgbClr val="C00000">
                <a:alpha val="15000"/>
              </a:srgbClr>
            </a:solidFill>
            <a:ln>
              <a:noFill/>
            </a:ln>
          </p:spPr>
          <p:txBody>
            <a:bodyPr vert="horz" wrap="square" lIns="91440" tIns="45720" rIns="91440" bIns="45720" numCol="1" anchor="t" anchorCtr="0" compatLnSpc="1">
              <a:prstTxWarp prst="textNoShape">
                <a:avLst/>
              </a:prstTxWarp>
            </a:bodyPr>
            <a:lstStyle/>
            <a:p>
              <a:endParaRPr lang="en-IN"/>
            </a:p>
          </p:txBody>
        </p:sp>
        <p:sp>
          <p:nvSpPr>
            <p:cNvPr id="25" name="Freeform 10"/>
            <p:cNvSpPr>
              <a:spLocks/>
            </p:cNvSpPr>
            <p:nvPr/>
          </p:nvSpPr>
          <p:spPr bwMode="gray">
            <a:xfrm>
              <a:off x="4148432" y="2250924"/>
              <a:ext cx="2012115" cy="2012263"/>
            </a:xfrm>
            <a:custGeom>
              <a:avLst/>
              <a:gdLst>
                <a:gd name="T0" fmla="+- 0 12331 12325"/>
                <a:gd name="T1" fmla="*/ T0 w 3626"/>
                <a:gd name="T2" fmla="+- 0 1347 -318"/>
                <a:gd name="T3" fmla="*/ 1347 h 3626"/>
                <a:gd name="T4" fmla="+- 0 12378 12325"/>
                <a:gd name="T5" fmla="*/ T4 w 3626"/>
                <a:gd name="T6" fmla="+- 0 1060 -318"/>
                <a:gd name="T7" fmla="*/ 1060 h 3626"/>
                <a:gd name="T8" fmla="+- 0 12468 12325"/>
                <a:gd name="T9" fmla="*/ T8 w 3626"/>
                <a:gd name="T10" fmla="+- 0 790 -318"/>
                <a:gd name="T11" fmla="*/ 790 h 3626"/>
                <a:gd name="T12" fmla="+- 0 12597 12325"/>
                <a:gd name="T13" fmla="*/ T12 w 3626"/>
                <a:gd name="T14" fmla="+- 0 540 -318"/>
                <a:gd name="T15" fmla="*/ 540 h 3626"/>
                <a:gd name="T16" fmla="+- 0 12762 12325"/>
                <a:gd name="T17" fmla="*/ T16 w 3626"/>
                <a:gd name="T18" fmla="+- 0 315 -318"/>
                <a:gd name="T19" fmla="*/ 315 h 3626"/>
                <a:gd name="T20" fmla="+- 0 12958 12325"/>
                <a:gd name="T21" fmla="*/ T20 w 3626"/>
                <a:gd name="T22" fmla="+- 0 119 -318"/>
                <a:gd name="T23" fmla="*/ 119 h 3626"/>
                <a:gd name="T24" fmla="+- 0 13183 12325"/>
                <a:gd name="T25" fmla="*/ T24 w 3626"/>
                <a:gd name="T26" fmla="+- 0 -46 -318"/>
                <a:gd name="T27" fmla="*/ -46 h 3626"/>
                <a:gd name="T28" fmla="+- 0 13433 12325"/>
                <a:gd name="T29" fmla="*/ T28 w 3626"/>
                <a:gd name="T30" fmla="+- 0 -175 -318"/>
                <a:gd name="T31" fmla="*/ -175 h 3626"/>
                <a:gd name="T32" fmla="+- 0 13703 12325"/>
                <a:gd name="T33" fmla="*/ T32 w 3626"/>
                <a:gd name="T34" fmla="+- 0 -265 -318"/>
                <a:gd name="T35" fmla="*/ -265 h 3626"/>
                <a:gd name="T36" fmla="+- 0 13990 12325"/>
                <a:gd name="T37" fmla="*/ T36 w 3626"/>
                <a:gd name="T38" fmla="+- 0 -312 -318"/>
                <a:gd name="T39" fmla="*/ -312 h 3626"/>
                <a:gd name="T40" fmla="+- 0 14287 12325"/>
                <a:gd name="T41" fmla="*/ T40 w 3626"/>
                <a:gd name="T42" fmla="+- 0 -312 -318"/>
                <a:gd name="T43" fmla="*/ -312 h 3626"/>
                <a:gd name="T44" fmla="+- 0 14574 12325"/>
                <a:gd name="T45" fmla="*/ T44 w 3626"/>
                <a:gd name="T46" fmla="+- 0 -265 -318"/>
                <a:gd name="T47" fmla="*/ -265 h 3626"/>
                <a:gd name="T48" fmla="+- 0 14844 12325"/>
                <a:gd name="T49" fmla="*/ T48 w 3626"/>
                <a:gd name="T50" fmla="+- 0 -175 -318"/>
                <a:gd name="T51" fmla="*/ -175 h 3626"/>
                <a:gd name="T52" fmla="+- 0 15094 12325"/>
                <a:gd name="T53" fmla="*/ T52 w 3626"/>
                <a:gd name="T54" fmla="+- 0 -46 -318"/>
                <a:gd name="T55" fmla="*/ -46 h 3626"/>
                <a:gd name="T56" fmla="+- 0 15318 12325"/>
                <a:gd name="T57" fmla="*/ T56 w 3626"/>
                <a:gd name="T58" fmla="+- 0 119 -318"/>
                <a:gd name="T59" fmla="*/ 119 h 3626"/>
                <a:gd name="T60" fmla="+- 0 15515 12325"/>
                <a:gd name="T61" fmla="*/ T60 w 3626"/>
                <a:gd name="T62" fmla="+- 0 315 -318"/>
                <a:gd name="T63" fmla="*/ 315 h 3626"/>
                <a:gd name="T64" fmla="+- 0 15680 12325"/>
                <a:gd name="T65" fmla="*/ T64 w 3626"/>
                <a:gd name="T66" fmla="+- 0 540 -318"/>
                <a:gd name="T67" fmla="*/ 540 h 3626"/>
                <a:gd name="T68" fmla="+- 0 15809 12325"/>
                <a:gd name="T69" fmla="*/ T68 w 3626"/>
                <a:gd name="T70" fmla="+- 0 790 -318"/>
                <a:gd name="T71" fmla="*/ 790 h 3626"/>
                <a:gd name="T72" fmla="+- 0 15899 12325"/>
                <a:gd name="T73" fmla="*/ T72 w 3626"/>
                <a:gd name="T74" fmla="+- 0 1060 -318"/>
                <a:gd name="T75" fmla="*/ 1060 h 3626"/>
                <a:gd name="T76" fmla="+- 0 15946 12325"/>
                <a:gd name="T77" fmla="*/ T76 w 3626"/>
                <a:gd name="T78" fmla="+- 0 1347 -318"/>
                <a:gd name="T79" fmla="*/ 1347 h 3626"/>
                <a:gd name="T80" fmla="+- 0 15946 12325"/>
                <a:gd name="T81" fmla="*/ T80 w 3626"/>
                <a:gd name="T82" fmla="+- 0 1644 -318"/>
                <a:gd name="T83" fmla="*/ 1644 h 3626"/>
                <a:gd name="T84" fmla="+- 0 15899 12325"/>
                <a:gd name="T85" fmla="*/ T84 w 3626"/>
                <a:gd name="T86" fmla="+- 0 1931 -318"/>
                <a:gd name="T87" fmla="*/ 1931 h 3626"/>
                <a:gd name="T88" fmla="+- 0 15809 12325"/>
                <a:gd name="T89" fmla="*/ T88 w 3626"/>
                <a:gd name="T90" fmla="+- 0 2201 -318"/>
                <a:gd name="T91" fmla="*/ 2201 h 3626"/>
                <a:gd name="T92" fmla="+- 0 15680 12325"/>
                <a:gd name="T93" fmla="*/ T92 w 3626"/>
                <a:gd name="T94" fmla="+- 0 2451 -318"/>
                <a:gd name="T95" fmla="*/ 2451 h 3626"/>
                <a:gd name="T96" fmla="+- 0 15515 12325"/>
                <a:gd name="T97" fmla="*/ T96 w 3626"/>
                <a:gd name="T98" fmla="+- 0 2676 -318"/>
                <a:gd name="T99" fmla="*/ 2676 h 3626"/>
                <a:gd name="T100" fmla="+- 0 15318 12325"/>
                <a:gd name="T101" fmla="*/ T100 w 3626"/>
                <a:gd name="T102" fmla="+- 0 2872 -318"/>
                <a:gd name="T103" fmla="*/ 2872 h 3626"/>
                <a:gd name="T104" fmla="+- 0 15094 12325"/>
                <a:gd name="T105" fmla="*/ T104 w 3626"/>
                <a:gd name="T106" fmla="+- 0 3037 -318"/>
                <a:gd name="T107" fmla="*/ 3037 h 3626"/>
                <a:gd name="T108" fmla="+- 0 14844 12325"/>
                <a:gd name="T109" fmla="*/ T108 w 3626"/>
                <a:gd name="T110" fmla="+- 0 3166 -318"/>
                <a:gd name="T111" fmla="*/ 3166 h 3626"/>
                <a:gd name="T112" fmla="+- 0 14574 12325"/>
                <a:gd name="T113" fmla="*/ T112 w 3626"/>
                <a:gd name="T114" fmla="+- 0 3256 -318"/>
                <a:gd name="T115" fmla="*/ 3256 h 3626"/>
                <a:gd name="T116" fmla="+- 0 14287 12325"/>
                <a:gd name="T117" fmla="*/ T116 w 3626"/>
                <a:gd name="T118" fmla="+- 0 3303 -318"/>
                <a:gd name="T119" fmla="*/ 3303 h 3626"/>
                <a:gd name="T120" fmla="+- 0 13990 12325"/>
                <a:gd name="T121" fmla="*/ T120 w 3626"/>
                <a:gd name="T122" fmla="+- 0 3303 -318"/>
                <a:gd name="T123" fmla="*/ 3303 h 3626"/>
                <a:gd name="T124" fmla="+- 0 13703 12325"/>
                <a:gd name="T125" fmla="*/ T124 w 3626"/>
                <a:gd name="T126" fmla="+- 0 3256 -318"/>
                <a:gd name="T127" fmla="*/ 3256 h 3626"/>
                <a:gd name="T128" fmla="+- 0 13433 12325"/>
                <a:gd name="T129" fmla="*/ T128 w 3626"/>
                <a:gd name="T130" fmla="+- 0 3166 -318"/>
                <a:gd name="T131" fmla="*/ 3166 h 3626"/>
                <a:gd name="T132" fmla="+- 0 13183 12325"/>
                <a:gd name="T133" fmla="*/ T132 w 3626"/>
                <a:gd name="T134" fmla="+- 0 3037 -318"/>
                <a:gd name="T135" fmla="*/ 3037 h 3626"/>
                <a:gd name="T136" fmla="+- 0 12958 12325"/>
                <a:gd name="T137" fmla="*/ T136 w 3626"/>
                <a:gd name="T138" fmla="+- 0 2872 -318"/>
                <a:gd name="T139" fmla="*/ 2872 h 3626"/>
                <a:gd name="T140" fmla="+- 0 12762 12325"/>
                <a:gd name="T141" fmla="*/ T140 w 3626"/>
                <a:gd name="T142" fmla="+- 0 2676 -318"/>
                <a:gd name="T143" fmla="*/ 2676 h 3626"/>
                <a:gd name="T144" fmla="+- 0 12597 12325"/>
                <a:gd name="T145" fmla="*/ T144 w 3626"/>
                <a:gd name="T146" fmla="+- 0 2451 -318"/>
                <a:gd name="T147" fmla="*/ 2451 h 3626"/>
                <a:gd name="T148" fmla="+- 0 12468 12325"/>
                <a:gd name="T149" fmla="*/ T148 w 3626"/>
                <a:gd name="T150" fmla="+- 0 2201 -318"/>
                <a:gd name="T151" fmla="*/ 2201 h 3626"/>
                <a:gd name="T152" fmla="+- 0 12378 12325"/>
                <a:gd name="T153" fmla="*/ T152 w 3626"/>
                <a:gd name="T154" fmla="+- 0 1931 -318"/>
                <a:gd name="T155" fmla="*/ 1931 h 3626"/>
                <a:gd name="T156" fmla="+- 0 12331 12325"/>
                <a:gd name="T157" fmla="*/ T156 w 3626"/>
                <a:gd name="T158" fmla="+- 0 1644 -318"/>
                <a:gd name="T159" fmla="*/ 1644 h 362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3626" h="3626">
                  <a:moveTo>
                    <a:pt x="0" y="1813"/>
                  </a:moveTo>
                  <a:lnTo>
                    <a:pt x="6" y="1665"/>
                  </a:lnTo>
                  <a:lnTo>
                    <a:pt x="24" y="1519"/>
                  </a:lnTo>
                  <a:lnTo>
                    <a:pt x="53" y="1378"/>
                  </a:lnTo>
                  <a:lnTo>
                    <a:pt x="93" y="1240"/>
                  </a:lnTo>
                  <a:lnTo>
                    <a:pt x="143" y="1108"/>
                  </a:lnTo>
                  <a:lnTo>
                    <a:pt x="203" y="980"/>
                  </a:lnTo>
                  <a:lnTo>
                    <a:pt x="272" y="858"/>
                  </a:lnTo>
                  <a:lnTo>
                    <a:pt x="350" y="743"/>
                  </a:lnTo>
                  <a:lnTo>
                    <a:pt x="437" y="633"/>
                  </a:lnTo>
                  <a:lnTo>
                    <a:pt x="531" y="531"/>
                  </a:lnTo>
                  <a:lnTo>
                    <a:pt x="633" y="437"/>
                  </a:lnTo>
                  <a:lnTo>
                    <a:pt x="743" y="350"/>
                  </a:lnTo>
                  <a:lnTo>
                    <a:pt x="858" y="272"/>
                  </a:lnTo>
                  <a:lnTo>
                    <a:pt x="980" y="203"/>
                  </a:lnTo>
                  <a:lnTo>
                    <a:pt x="1108" y="143"/>
                  </a:lnTo>
                  <a:lnTo>
                    <a:pt x="1240" y="93"/>
                  </a:lnTo>
                  <a:lnTo>
                    <a:pt x="1378" y="53"/>
                  </a:lnTo>
                  <a:lnTo>
                    <a:pt x="1519" y="24"/>
                  </a:lnTo>
                  <a:lnTo>
                    <a:pt x="1665" y="6"/>
                  </a:lnTo>
                  <a:lnTo>
                    <a:pt x="1813" y="0"/>
                  </a:lnTo>
                  <a:lnTo>
                    <a:pt x="1962" y="6"/>
                  </a:lnTo>
                  <a:lnTo>
                    <a:pt x="2108" y="24"/>
                  </a:lnTo>
                  <a:lnTo>
                    <a:pt x="2249" y="53"/>
                  </a:lnTo>
                  <a:lnTo>
                    <a:pt x="2387" y="93"/>
                  </a:lnTo>
                  <a:lnTo>
                    <a:pt x="2519" y="143"/>
                  </a:lnTo>
                  <a:lnTo>
                    <a:pt x="2647" y="203"/>
                  </a:lnTo>
                  <a:lnTo>
                    <a:pt x="2769" y="272"/>
                  </a:lnTo>
                  <a:lnTo>
                    <a:pt x="2884" y="350"/>
                  </a:lnTo>
                  <a:lnTo>
                    <a:pt x="2993" y="437"/>
                  </a:lnTo>
                  <a:lnTo>
                    <a:pt x="3096" y="531"/>
                  </a:lnTo>
                  <a:lnTo>
                    <a:pt x="3190" y="633"/>
                  </a:lnTo>
                  <a:lnTo>
                    <a:pt x="3277" y="743"/>
                  </a:lnTo>
                  <a:lnTo>
                    <a:pt x="3355" y="858"/>
                  </a:lnTo>
                  <a:lnTo>
                    <a:pt x="3424" y="980"/>
                  </a:lnTo>
                  <a:lnTo>
                    <a:pt x="3484" y="1108"/>
                  </a:lnTo>
                  <a:lnTo>
                    <a:pt x="3534" y="1240"/>
                  </a:lnTo>
                  <a:lnTo>
                    <a:pt x="3574" y="1378"/>
                  </a:lnTo>
                  <a:lnTo>
                    <a:pt x="3603" y="1519"/>
                  </a:lnTo>
                  <a:lnTo>
                    <a:pt x="3621" y="1665"/>
                  </a:lnTo>
                  <a:lnTo>
                    <a:pt x="3627" y="1813"/>
                  </a:lnTo>
                  <a:lnTo>
                    <a:pt x="3621" y="1962"/>
                  </a:lnTo>
                  <a:lnTo>
                    <a:pt x="3603" y="2108"/>
                  </a:lnTo>
                  <a:lnTo>
                    <a:pt x="3574" y="2249"/>
                  </a:lnTo>
                  <a:lnTo>
                    <a:pt x="3534" y="2387"/>
                  </a:lnTo>
                  <a:lnTo>
                    <a:pt x="3484" y="2519"/>
                  </a:lnTo>
                  <a:lnTo>
                    <a:pt x="3424" y="2647"/>
                  </a:lnTo>
                  <a:lnTo>
                    <a:pt x="3355" y="2769"/>
                  </a:lnTo>
                  <a:lnTo>
                    <a:pt x="3277" y="2884"/>
                  </a:lnTo>
                  <a:lnTo>
                    <a:pt x="3190" y="2994"/>
                  </a:lnTo>
                  <a:lnTo>
                    <a:pt x="3096" y="3096"/>
                  </a:lnTo>
                  <a:lnTo>
                    <a:pt x="2993" y="3190"/>
                  </a:lnTo>
                  <a:lnTo>
                    <a:pt x="2884" y="3277"/>
                  </a:lnTo>
                  <a:lnTo>
                    <a:pt x="2769" y="3355"/>
                  </a:lnTo>
                  <a:lnTo>
                    <a:pt x="2647" y="3424"/>
                  </a:lnTo>
                  <a:lnTo>
                    <a:pt x="2519" y="3484"/>
                  </a:lnTo>
                  <a:lnTo>
                    <a:pt x="2387" y="3534"/>
                  </a:lnTo>
                  <a:lnTo>
                    <a:pt x="2249" y="3574"/>
                  </a:lnTo>
                  <a:lnTo>
                    <a:pt x="2108" y="3603"/>
                  </a:lnTo>
                  <a:lnTo>
                    <a:pt x="1962" y="3621"/>
                  </a:lnTo>
                  <a:lnTo>
                    <a:pt x="1813" y="3627"/>
                  </a:lnTo>
                  <a:lnTo>
                    <a:pt x="1665" y="3621"/>
                  </a:lnTo>
                  <a:lnTo>
                    <a:pt x="1519" y="3603"/>
                  </a:lnTo>
                  <a:lnTo>
                    <a:pt x="1378" y="3574"/>
                  </a:lnTo>
                  <a:lnTo>
                    <a:pt x="1240" y="3534"/>
                  </a:lnTo>
                  <a:lnTo>
                    <a:pt x="1108" y="3484"/>
                  </a:lnTo>
                  <a:lnTo>
                    <a:pt x="980" y="3424"/>
                  </a:lnTo>
                  <a:lnTo>
                    <a:pt x="858" y="3355"/>
                  </a:lnTo>
                  <a:lnTo>
                    <a:pt x="743" y="3277"/>
                  </a:lnTo>
                  <a:lnTo>
                    <a:pt x="633" y="3190"/>
                  </a:lnTo>
                  <a:lnTo>
                    <a:pt x="531" y="3096"/>
                  </a:lnTo>
                  <a:lnTo>
                    <a:pt x="437" y="2994"/>
                  </a:lnTo>
                  <a:lnTo>
                    <a:pt x="350" y="2884"/>
                  </a:lnTo>
                  <a:lnTo>
                    <a:pt x="272" y="2769"/>
                  </a:lnTo>
                  <a:lnTo>
                    <a:pt x="203" y="2647"/>
                  </a:lnTo>
                  <a:lnTo>
                    <a:pt x="143" y="2519"/>
                  </a:lnTo>
                  <a:lnTo>
                    <a:pt x="93" y="2387"/>
                  </a:lnTo>
                  <a:lnTo>
                    <a:pt x="53" y="2249"/>
                  </a:lnTo>
                  <a:lnTo>
                    <a:pt x="24" y="2108"/>
                  </a:lnTo>
                  <a:lnTo>
                    <a:pt x="6" y="1962"/>
                  </a:lnTo>
                  <a:lnTo>
                    <a:pt x="0" y="1813"/>
                  </a:lnTo>
                  <a:close/>
                </a:path>
              </a:pathLst>
            </a:custGeom>
            <a:solidFill>
              <a:schemeClr val="bg2">
                <a:alpha val="15000"/>
              </a:schemeClr>
            </a:solidFill>
            <a:ln w="25908">
              <a:solidFill>
                <a:srgbClr val="FFFFFF"/>
              </a:solid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4" name="Freeform 12"/>
            <p:cNvSpPr>
              <a:spLocks/>
            </p:cNvSpPr>
            <p:nvPr/>
          </p:nvSpPr>
          <p:spPr bwMode="gray">
            <a:xfrm>
              <a:off x="4148432" y="3006216"/>
              <a:ext cx="2012115" cy="2012263"/>
            </a:xfrm>
            <a:custGeom>
              <a:avLst/>
              <a:gdLst>
                <a:gd name="T0" fmla="+- 0 13990 12325"/>
                <a:gd name="T1" fmla="*/ T0 w 3626"/>
                <a:gd name="T2" fmla="+- 0 1049 1043"/>
                <a:gd name="T3" fmla="*/ 1049 h 3626"/>
                <a:gd name="T4" fmla="+- 0 13703 12325"/>
                <a:gd name="T5" fmla="*/ T4 w 3626"/>
                <a:gd name="T6" fmla="+- 0 1096 1043"/>
                <a:gd name="T7" fmla="*/ 1096 h 3626"/>
                <a:gd name="T8" fmla="+- 0 13433 12325"/>
                <a:gd name="T9" fmla="*/ T8 w 3626"/>
                <a:gd name="T10" fmla="+- 0 1186 1043"/>
                <a:gd name="T11" fmla="*/ 1186 h 3626"/>
                <a:gd name="T12" fmla="+- 0 13183 12325"/>
                <a:gd name="T13" fmla="*/ T12 w 3626"/>
                <a:gd name="T14" fmla="+- 0 1315 1043"/>
                <a:gd name="T15" fmla="*/ 1315 h 3626"/>
                <a:gd name="T16" fmla="+- 0 12958 12325"/>
                <a:gd name="T17" fmla="*/ T16 w 3626"/>
                <a:gd name="T18" fmla="+- 0 1480 1043"/>
                <a:gd name="T19" fmla="*/ 1480 h 3626"/>
                <a:gd name="T20" fmla="+- 0 12762 12325"/>
                <a:gd name="T21" fmla="*/ T20 w 3626"/>
                <a:gd name="T22" fmla="+- 0 1676 1043"/>
                <a:gd name="T23" fmla="*/ 1676 h 3626"/>
                <a:gd name="T24" fmla="+- 0 12597 12325"/>
                <a:gd name="T25" fmla="*/ T24 w 3626"/>
                <a:gd name="T26" fmla="+- 0 1901 1043"/>
                <a:gd name="T27" fmla="*/ 1901 h 3626"/>
                <a:gd name="T28" fmla="+- 0 12468 12325"/>
                <a:gd name="T29" fmla="*/ T28 w 3626"/>
                <a:gd name="T30" fmla="+- 0 2151 1043"/>
                <a:gd name="T31" fmla="*/ 2151 h 3626"/>
                <a:gd name="T32" fmla="+- 0 12378 12325"/>
                <a:gd name="T33" fmla="*/ T32 w 3626"/>
                <a:gd name="T34" fmla="+- 0 2421 1043"/>
                <a:gd name="T35" fmla="*/ 2421 h 3626"/>
                <a:gd name="T36" fmla="+- 0 12331 12325"/>
                <a:gd name="T37" fmla="*/ T36 w 3626"/>
                <a:gd name="T38" fmla="+- 0 2708 1043"/>
                <a:gd name="T39" fmla="*/ 2708 h 3626"/>
                <a:gd name="T40" fmla="+- 0 12331 12325"/>
                <a:gd name="T41" fmla="*/ T40 w 3626"/>
                <a:gd name="T42" fmla="+- 0 3005 1043"/>
                <a:gd name="T43" fmla="*/ 3005 h 3626"/>
                <a:gd name="T44" fmla="+- 0 12378 12325"/>
                <a:gd name="T45" fmla="*/ T44 w 3626"/>
                <a:gd name="T46" fmla="+- 0 3292 1043"/>
                <a:gd name="T47" fmla="*/ 3292 h 3626"/>
                <a:gd name="T48" fmla="+- 0 12468 12325"/>
                <a:gd name="T49" fmla="*/ T48 w 3626"/>
                <a:gd name="T50" fmla="+- 0 3562 1043"/>
                <a:gd name="T51" fmla="*/ 3562 h 3626"/>
                <a:gd name="T52" fmla="+- 0 12597 12325"/>
                <a:gd name="T53" fmla="*/ T52 w 3626"/>
                <a:gd name="T54" fmla="+- 0 3811 1043"/>
                <a:gd name="T55" fmla="*/ 3811 h 3626"/>
                <a:gd name="T56" fmla="+- 0 12762 12325"/>
                <a:gd name="T57" fmla="*/ T56 w 3626"/>
                <a:gd name="T58" fmla="+- 0 4036 1043"/>
                <a:gd name="T59" fmla="*/ 4036 h 3626"/>
                <a:gd name="T60" fmla="+- 0 12958 12325"/>
                <a:gd name="T61" fmla="*/ T60 w 3626"/>
                <a:gd name="T62" fmla="+- 0 4233 1043"/>
                <a:gd name="T63" fmla="*/ 4233 h 3626"/>
                <a:gd name="T64" fmla="+- 0 13183 12325"/>
                <a:gd name="T65" fmla="*/ T64 w 3626"/>
                <a:gd name="T66" fmla="+- 0 4398 1043"/>
                <a:gd name="T67" fmla="*/ 4398 h 3626"/>
                <a:gd name="T68" fmla="+- 0 13433 12325"/>
                <a:gd name="T69" fmla="*/ T68 w 3626"/>
                <a:gd name="T70" fmla="+- 0 4527 1043"/>
                <a:gd name="T71" fmla="*/ 4527 h 3626"/>
                <a:gd name="T72" fmla="+- 0 13703 12325"/>
                <a:gd name="T73" fmla="*/ T72 w 3626"/>
                <a:gd name="T74" fmla="+- 0 4617 1043"/>
                <a:gd name="T75" fmla="*/ 4617 h 3626"/>
                <a:gd name="T76" fmla="+- 0 13990 12325"/>
                <a:gd name="T77" fmla="*/ T76 w 3626"/>
                <a:gd name="T78" fmla="+- 0 4663 1043"/>
                <a:gd name="T79" fmla="*/ 4663 h 3626"/>
                <a:gd name="T80" fmla="+- 0 14287 12325"/>
                <a:gd name="T81" fmla="*/ T80 w 3626"/>
                <a:gd name="T82" fmla="+- 0 4663 1043"/>
                <a:gd name="T83" fmla="*/ 4663 h 3626"/>
                <a:gd name="T84" fmla="+- 0 14574 12325"/>
                <a:gd name="T85" fmla="*/ T84 w 3626"/>
                <a:gd name="T86" fmla="+- 0 4617 1043"/>
                <a:gd name="T87" fmla="*/ 4617 h 3626"/>
                <a:gd name="T88" fmla="+- 0 14844 12325"/>
                <a:gd name="T89" fmla="*/ T88 w 3626"/>
                <a:gd name="T90" fmla="+- 0 4527 1043"/>
                <a:gd name="T91" fmla="*/ 4527 h 3626"/>
                <a:gd name="T92" fmla="+- 0 15094 12325"/>
                <a:gd name="T93" fmla="*/ T92 w 3626"/>
                <a:gd name="T94" fmla="+- 0 4398 1043"/>
                <a:gd name="T95" fmla="*/ 4398 h 3626"/>
                <a:gd name="T96" fmla="+- 0 15318 12325"/>
                <a:gd name="T97" fmla="*/ T96 w 3626"/>
                <a:gd name="T98" fmla="+- 0 4233 1043"/>
                <a:gd name="T99" fmla="*/ 4233 h 3626"/>
                <a:gd name="T100" fmla="+- 0 15515 12325"/>
                <a:gd name="T101" fmla="*/ T100 w 3626"/>
                <a:gd name="T102" fmla="+- 0 4036 1043"/>
                <a:gd name="T103" fmla="*/ 4036 h 3626"/>
                <a:gd name="T104" fmla="+- 0 15680 12325"/>
                <a:gd name="T105" fmla="*/ T104 w 3626"/>
                <a:gd name="T106" fmla="+- 0 3811 1043"/>
                <a:gd name="T107" fmla="*/ 3811 h 3626"/>
                <a:gd name="T108" fmla="+- 0 15809 12325"/>
                <a:gd name="T109" fmla="*/ T108 w 3626"/>
                <a:gd name="T110" fmla="+- 0 3562 1043"/>
                <a:gd name="T111" fmla="*/ 3562 h 3626"/>
                <a:gd name="T112" fmla="+- 0 15899 12325"/>
                <a:gd name="T113" fmla="*/ T112 w 3626"/>
                <a:gd name="T114" fmla="+- 0 3292 1043"/>
                <a:gd name="T115" fmla="*/ 3292 h 3626"/>
                <a:gd name="T116" fmla="+- 0 15946 12325"/>
                <a:gd name="T117" fmla="*/ T116 w 3626"/>
                <a:gd name="T118" fmla="+- 0 3005 1043"/>
                <a:gd name="T119" fmla="*/ 3005 h 3626"/>
                <a:gd name="T120" fmla="+- 0 15946 12325"/>
                <a:gd name="T121" fmla="*/ T120 w 3626"/>
                <a:gd name="T122" fmla="+- 0 2708 1043"/>
                <a:gd name="T123" fmla="*/ 2708 h 3626"/>
                <a:gd name="T124" fmla="+- 0 15899 12325"/>
                <a:gd name="T125" fmla="*/ T124 w 3626"/>
                <a:gd name="T126" fmla="+- 0 2421 1043"/>
                <a:gd name="T127" fmla="*/ 2421 h 3626"/>
                <a:gd name="T128" fmla="+- 0 15809 12325"/>
                <a:gd name="T129" fmla="*/ T128 w 3626"/>
                <a:gd name="T130" fmla="+- 0 2151 1043"/>
                <a:gd name="T131" fmla="*/ 2151 h 3626"/>
                <a:gd name="T132" fmla="+- 0 15680 12325"/>
                <a:gd name="T133" fmla="*/ T132 w 3626"/>
                <a:gd name="T134" fmla="+- 0 1901 1043"/>
                <a:gd name="T135" fmla="*/ 1901 h 3626"/>
                <a:gd name="T136" fmla="+- 0 15515 12325"/>
                <a:gd name="T137" fmla="*/ T136 w 3626"/>
                <a:gd name="T138" fmla="+- 0 1676 1043"/>
                <a:gd name="T139" fmla="*/ 1676 h 3626"/>
                <a:gd name="T140" fmla="+- 0 15318 12325"/>
                <a:gd name="T141" fmla="*/ T140 w 3626"/>
                <a:gd name="T142" fmla="+- 0 1480 1043"/>
                <a:gd name="T143" fmla="*/ 1480 h 3626"/>
                <a:gd name="T144" fmla="+- 0 15094 12325"/>
                <a:gd name="T145" fmla="*/ T144 w 3626"/>
                <a:gd name="T146" fmla="+- 0 1315 1043"/>
                <a:gd name="T147" fmla="*/ 1315 h 3626"/>
                <a:gd name="T148" fmla="+- 0 14844 12325"/>
                <a:gd name="T149" fmla="*/ T148 w 3626"/>
                <a:gd name="T150" fmla="+- 0 1186 1043"/>
                <a:gd name="T151" fmla="*/ 1186 h 3626"/>
                <a:gd name="T152" fmla="+- 0 14574 12325"/>
                <a:gd name="T153" fmla="*/ T152 w 3626"/>
                <a:gd name="T154" fmla="+- 0 1096 1043"/>
                <a:gd name="T155" fmla="*/ 1096 h 3626"/>
                <a:gd name="T156" fmla="+- 0 14287 12325"/>
                <a:gd name="T157" fmla="*/ T156 w 3626"/>
                <a:gd name="T158" fmla="+- 0 1049 1043"/>
                <a:gd name="T159" fmla="*/ 1049 h 362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3626" h="3626">
                  <a:moveTo>
                    <a:pt x="1813" y="0"/>
                  </a:moveTo>
                  <a:lnTo>
                    <a:pt x="1665" y="6"/>
                  </a:lnTo>
                  <a:lnTo>
                    <a:pt x="1519" y="24"/>
                  </a:lnTo>
                  <a:lnTo>
                    <a:pt x="1378" y="53"/>
                  </a:lnTo>
                  <a:lnTo>
                    <a:pt x="1240" y="93"/>
                  </a:lnTo>
                  <a:lnTo>
                    <a:pt x="1108" y="143"/>
                  </a:lnTo>
                  <a:lnTo>
                    <a:pt x="980" y="202"/>
                  </a:lnTo>
                  <a:lnTo>
                    <a:pt x="858" y="272"/>
                  </a:lnTo>
                  <a:lnTo>
                    <a:pt x="743" y="350"/>
                  </a:lnTo>
                  <a:lnTo>
                    <a:pt x="633" y="437"/>
                  </a:lnTo>
                  <a:lnTo>
                    <a:pt x="531" y="531"/>
                  </a:lnTo>
                  <a:lnTo>
                    <a:pt x="437" y="633"/>
                  </a:lnTo>
                  <a:lnTo>
                    <a:pt x="350" y="742"/>
                  </a:lnTo>
                  <a:lnTo>
                    <a:pt x="272" y="858"/>
                  </a:lnTo>
                  <a:lnTo>
                    <a:pt x="203" y="980"/>
                  </a:lnTo>
                  <a:lnTo>
                    <a:pt x="143" y="1108"/>
                  </a:lnTo>
                  <a:lnTo>
                    <a:pt x="93" y="1240"/>
                  </a:lnTo>
                  <a:lnTo>
                    <a:pt x="53" y="1378"/>
                  </a:lnTo>
                  <a:lnTo>
                    <a:pt x="24" y="1519"/>
                  </a:lnTo>
                  <a:lnTo>
                    <a:pt x="6" y="1665"/>
                  </a:lnTo>
                  <a:lnTo>
                    <a:pt x="0" y="1813"/>
                  </a:lnTo>
                  <a:lnTo>
                    <a:pt x="6" y="1962"/>
                  </a:lnTo>
                  <a:lnTo>
                    <a:pt x="24" y="2107"/>
                  </a:lnTo>
                  <a:lnTo>
                    <a:pt x="53" y="2249"/>
                  </a:lnTo>
                  <a:lnTo>
                    <a:pt x="93" y="2386"/>
                  </a:lnTo>
                  <a:lnTo>
                    <a:pt x="143" y="2519"/>
                  </a:lnTo>
                  <a:lnTo>
                    <a:pt x="203" y="2647"/>
                  </a:lnTo>
                  <a:lnTo>
                    <a:pt x="272" y="2768"/>
                  </a:lnTo>
                  <a:lnTo>
                    <a:pt x="350" y="2884"/>
                  </a:lnTo>
                  <a:lnTo>
                    <a:pt x="437" y="2993"/>
                  </a:lnTo>
                  <a:lnTo>
                    <a:pt x="531" y="3095"/>
                  </a:lnTo>
                  <a:lnTo>
                    <a:pt x="633" y="3190"/>
                  </a:lnTo>
                  <a:lnTo>
                    <a:pt x="743" y="3277"/>
                  </a:lnTo>
                  <a:lnTo>
                    <a:pt x="858" y="3355"/>
                  </a:lnTo>
                  <a:lnTo>
                    <a:pt x="980" y="3424"/>
                  </a:lnTo>
                  <a:lnTo>
                    <a:pt x="1108" y="3484"/>
                  </a:lnTo>
                  <a:lnTo>
                    <a:pt x="1240" y="3534"/>
                  </a:lnTo>
                  <a:lnTo>
                    <a:pt x="1378" y="3574"/>
                  </a:lnTo>
                  <a:lnTo>
                    <a:pt x="1519" y="3603"/>
                  </a:lnTo>
                  <a:lnTo>
                    <a:pt x="1665" y="3620"/>
                  </a:lnTo>
                  <a:lnTo>
                    <a:pt x="1813" y="3626"/>
                  </a:lnTo>
                  <a:lnTo>
                    <a:pt x="1962" y="3620"/>
                  </a:lnTo>
                  <a:lnTo>
                    <a:pt x="2108" y="3603"/>
                  </a:lnTo>
                  <a:lnTo>
                    <a:pt x="2249" y="3574"/>
                  </a:lnTo>
                  <a:lnTo>
                    <a:pt x="2387" y="3534"/>
                  </a:lnTo>
                  <a:lnTo>
                    <a:pt x="2519" y="3484"/>
                  </a:lnTo>
                  <a:lnTo>
                    <a:pt x="2647" y="3424"/>
                  </a:lnTo>
                  <a:lnTo>
                    <a:pt x="2769" y="3355"/>
                  </a:lnTo>
                  <a:lnTo>
                    <a:pt x="2884" y="3277"/>
                  </a:lnTo>
                  <a:lnTo>
                    <a:pt x="2993" y="3190"/>
                  </a:lnTo>
                  <a:lnTo>
                    <a:pt x="3096" y="3095"/>
                  </a:lnTo>
                  <a:lnTo>
                    <a:pt x="3190" y="2993"/>
                  </a:lnTo>
                  <a:lnTo>
                    <a:pt x="3277" y="2884"/>
                  </a:lnTo>
                  <a:lnTo>
                    <a:pt x="3355" y="2768"/>
                  </a:lnTo>
                  <a:lnTo>
                    <a:pt x="3424" y="2647"/>
                  </a:lnTo>
                  <a:lnTo>
                    <a:pt x="3484" y="2519"/>
                  </a:lnTo>
                  <a:lnTo>
                    <a:pt x="3534" y="2386"/>
                  </a:lnTo>
                  <a:lnTo>
                    <a:pt x="3574" y="2249"/>
                  </a:lnTo>
                  <a:lnTo>
                    <a:pt x="3603" y="2107"/>
                  </a:lnTo>
                  <a:lnTo>
                    <a:pt x="3621" y="1962"/>
                  </a:lnTo>
                  <a:lnTo>
                    <a:pt x="3627" y="1813"/>
                  </a:lnTo>
                  <a:lnTo>
                    <a:pt x="3621" y="1665"/>
                  </a:lnTo>
                  <a:lnTo>
                    <a:pt x="3603" y="1519"/>
                  </a:lnTo>
                  <a:lnTo>
                    <a:pt x="3574" y="1378"/>
                  </a:lnTo>
                  <a:lnTo>
                    <a:pt x="3534" y="1240"/>
                  </a:lnTo>
                  <a:lnTo>
                    <a:pt x="3484" y="1108"/>
                  </a:lnTo>
                  <a:lnTo>
                    <a:pt x="3424" y="980"/>
                  </a:lnTo>
                  <a:lnTo>
                    <a:pt x="3355" y="858"/>
                  </a:lnTo>
                  <a:lnTo>
                    <a:pt x="3277" y="742"/>
                  </a:lnTo>
                  <a:lnTo>
                    <a:pt x="3190" y="633"/>
                  </a:lnTo>
                  <a:lnTo>
                    <a:pt x="3096" y="531"/>
                  </a:lnTo>
                  <a:lnTo>
                    <a:pt x="2993" y="437"/>
                  </a:lnTo>
                  <a:lnTo>
                    <a:pt x="2884" y="350"/>
                  </a:lnTo>
                  <a:lnTo>
                    <a:pt x="2769" y="272"/>
                  </a:lnTo>
                  <a:lnTo>
                    <a:pt x="2647" y="202"/>
                  </a:lnTo>
                  <a:lnTo>
                    <a:pt x="2519" y="143"/>
                  </a:lnTo>
                  <a:lnTo>
                    <a:pt x="2387" y="93"/>
                  </a:lnTo>
                  <a:lnTo>
                    <a:pt x="2249" y="53"/>
                  </a:lnTo>
                  <a:lnTo>
                    <a:pt x="2108" y="24"/>
                  </a:lnTo>
                  <a:lnTo>
                    <a:pt x="1962" y="6"/>
                  </a:lnTo>
                  <a:lnTo>
                    <a:pt x="1813" y="0"/>
                  </a:lnTo>
                </a:path>
              </a:pathLst>
            </a:custGeom>
            <a:solidFill>
              <a:srgbClr val="C00000">
                <a:alpha val="15000"/>
              </a:srgbClr>
            </a:solidFill>
            <a:ln>
              <a:noFill/>
            </a:ln>
          </p:spPr>
          <p:txBody>
            <a:bodyPr vert="horz" wrap="square" lIns="91440" tIns="45720" rIns="91440" bIns="45720" numCol="1" anchor="t" anchorCtr="0" compatLnSpc="1">
              <a:prstTxWarp prst="textNoShape">
                <a:avLst/>
              </a:prstTxWarp>
            </a:bodyPr>
            <a:lstStyle/>
            <a:p>
              <a:endParaRPr lang="en-IN"/>
            </a:p>
          </p:txBody>
        </p:sp>
        <p:sp>
          <p:nvSpPr>
            <p:cNvPr id="23" name="Freeform 14"/>
            <p:cNvSpPr>
              <a:spLocks/>
            </p:cNvSpPr>
            <p:nvPr/>
          </p:nvSpPr>
          <p:spPr bwMode="gray">
            <a:xfrm>
              <a:off x="4148432" y="3006216"/>
              <a:ext cx="2012115" cy="2012263"/>
            </a:xfrm>
            <a:custGeom>
              <a:avLst/>
              <a:gdLst>
                <a:gd name="T0" fmla="+- 0 12331 12325"/>
                <a:gd name="T1" fmla="*/ T0 w 3626"/>
                <a:gd name="T2" fmla="+- 0 2708 1043"/>
                <a:gd name="T3" fmla="*/ 2708 h 3626"/>
                <a:gd name="T4" fmla="+- 0 12378 12325"/>
                <a:gd name="T5" fmla="*/ T4 w 3626"/>
                <a:gd name="T6" fmla="+- 0 2421 1043"/>
                <a:gd name="T7" fmla="*/ 2421 h 3626"/>
                <a:gd name="T8" fmla="+- 0 12468 12325"/>
                <a:gd name="T9" fmla="*/ T8 w 3626"/>
                <a:gd name="T10" fmla="+- 0 2151 1043"/>
                <a:gd name="T11" fmla="*/ 2151 h 3626"/>
                <a:gd name="T12" fmla="+- 0 12597 12325"/>
                <a:gd name="T13" fmla="*/ T12 w 3626"/>
                <a:gd name="T14" fmla="+- 0 1901 1043"/>
                <a:gd name="T15" fmla="*/ 1901 h 3626"/>
                <a:gd name="T16" fmla="+- 0 12762 12325"/>
                <a:gd name="T17" fmla="*/ T16 w 3626"/>
                <a:gd name="T18" fmla="+- 0 1676 1043"/>
                <a:gd name="T19" fmla="*/ 1676 h 3626"/>
                <a:gd name="T20" fmla="+- 0 12958 12325"/>
                <a:gd name="T21" fmla="*/ T20 w 3626"/>
                <a:gd name="T22" fmla="+- 0 1480 1043"/>
                <a:gd name="T23" fmla="*/ 1480 h 3626"/>
                <a:gd name="T24" fmla="+- 0 13183 12325"/>
                <a:gd name="T25" fmla="*/ T24 w 3626"/>
                <a:gd name="T26" fmla="+- 0 1315 1043"/>
                <a:gd name="T27" fmla="*/ 1315 h 3626"/>
                <a:gd name="T28" fmla="+- 0 13433 12325"/>
                <a:gd name="T29" fmla="*/ T28 w 3626"/>
                <a:gd name="T30" fmla="+- 0 1186 1043"/>
                <a:gd name="T31" fmla="*/ 1186 h 3626"/>
                <a:gd name="T32" fmla="+- 0 13703 12325"/>
                <a:gd name="T33" fmla="*/ T32 w 3626"/>
                <a:gd name="T34" fmla="+- 0 1096 1043"/>
                <a:gd name="T35" fmla="*/ 1096 h 3626"/>
                <a:gd name="T36" fmla="+- 0 13990 12325"/>
                <a:gd name="T37" fmla="*/ T36 w 3626"/>
                <a:gd name="T38" fmla="+- 0 1049 1043"/>
                <a:gd name="T39" fmla="*/ 1049 h 3626"/>
                <a:gd name="T40" fmla="+- 0 14287 12325"/>
                <a:gd name="T41" fmla="*/ T40 w 3626"/>
                <a:gd name="T42" fmla="+- 0 1049 1043"/>
                <a:gd name="T43" fmla="*/ 1049 h 3626"/>
                <a:gd name="T44" fmla="+- 0 14574 12325"/>
                <a:gd name="T45" fmla="*/ T44 w 3626"/>
                <a:gd name="T46" fmla="+- 0 1096 1043"/>
                <a:gd name="T47" fmla="*/ 1096 h 3626"/>
                <a:gd name="T48" fmla="+- 0 14844 12325"/>
                <a:gd name="T49" fmla="*/ T48 w 3626"/>
                <a:gd name="T50" fmla="+- 0 1186 1043"/>
                <a:gd name="T51" fmla="*/ 1186 h 3626"/>
                <a:gd name="T52" fmla="+- 0 15094 12325"/>
                <a:gd name="T53" fmla="*/ T52 w 3626"/>
                <a:gd name="T54" fmla="+- 0 1315 1043"/>
                <a:gd name="T55" fmla="*/ 1315 h 3626"/>
                <a:gd name="T56" fmla="+- 0 15318 12325"/>
                <a:gd name="T57" fmla="*/ T56 w 3626"/>
                <a:gd name="T58" fmla="+- 0 1480 1043"/>
                <a:gd name="T59" fmla="*/ 1480 h 3626"/>
                <a:gd name="T60" fmla="+- 0 15515 12325"/>
                <a:gd name="T61" fmla="*/ T60 w 3626"/>
                <a:gd name="T62" fmla="+- 0 1676 1043"/>
                <a:gd name="T63" fmla="*/ 1676 h 3626"/>
                <a:gd name="T64" fmla="+- 0 15680 12325"/>
                <a:gd name="T65" fmla="*/ T64 w 3626"/>
                <a:gd name="T66" fmla="+- 0 1901 1043"/>
                <a:gd name="T67" fmla="*/ 1901 h 3626"/>
                <a:gd name="T68" fmla="+- 0 15809 12325"/>
                <a:gd name="T69" fmla="*/ T68 w 3626"/>
                <a:gd name="T70" fmla="+- 0 2151 1043"/>
                <a:gd name="T71" fmla="*/ 2151 h 3626"/>
                <a:gd name="T72" fmla="+- 0 15899 12325"/>
                <a:gd name="T73" fmla="*/ T72 w 3626"/>
                <a:gd name="T74" fmla="+- 0 2421 1043"/>
                <a:gd name="T75" fmla="*/ 2421 h 3626"/>
                <a:gd name="T76" fmla="+- 0 15946 12325"/>
                <a:gd name="T77" fmla="*/ T76 w 3626"/>
                <a:gd name="T78" fmla="+- 0 2708 1043"/>
                <a:gd name="T79" fmla="*/ 2708 h 3626"/>
                <a:gd name="T80" fmla="+- 0 15946 12325"/>
                <a:gd name="T81" fmla="*/ T80 w 3626"/>
                <a:gd name="T82" fmla="+- 0 3005 1043"/>
                <a:gd name="T83" fmla="*/ 3005 h 3626"/>
                <a:gd name="T84" fmla="+- 0 15899 12325"/>
                <a:gd name="T85" fmla="*/ T84 w 3626"/>
                <a:gd name="T86" fmla="+- 0 3292 1043"/>
                <a:gd name="T87" fmla="*/ 3292 h 3626"/>
                <a:gd name="T88" fmla="+- 0 15809 12325"/>
                <a:gd name="T89" fmla="*/ T88 w 3626"/>
                <a:gd name="T90" fmla="+- 0 3562 1043"/>
                <a:gd name="T91" fmla="*/ 3562 h 3626"/>
                <a:gd name="T92" fmla="+- 0 15680 12325"/>
                <a:gd name="T93" fmla="*/ T92 w 3626"/>
                <a:gd name="T94" fmla="+- 0 3811 1043"/>
                <a:gd name="T95" fmla="*/ 3811 h 3626"/>
                <a:gd name="T96" fmla="+- 0 15515 12325"/>
                <a:gd name="T97" fmla="*/ T96 w 3626"/>
                <a:gd name="T98" fmla="+- 0 4036 1043"/>
                <a:gd name="T99" fmla="*/ 4036 h 3626"/>
                <a:gd name="T100" fmla="+- 0 15318 12325"/>
                <a:gd name="T101" fmla="*/ T100 w 3626"/>
                <a:gd name="T102" fmla="+- 0 4233 1043"/>
                <a:gd name="T103" fmla="*/ 4233 h 3626"/>
                <a:gd name="T104" fmla="+- 0 15094 12325"/>
                <a:gd name="T105" fmla="*/ T104 w 3626"/>
                <a:gd name="T106" fmla="+- 0 4398 1043"/>
                <a:gd name="T107" fmla="*/ 4398 h 3626"/>
                <a:gd name="T108" fmla="+- 0 14844 12325"/>
                <a:gd name="T109" fmla="*/ T108 w 3626"/>
                <a:gd name="T110" fmla="+- 0 4527 1043"/>
                <a:gd name="T111" fmla="*/ 4527 h 3626"/>
                <a:gd name="T112" fmla="+- 0 14574 12325"/>
                <a:gd name="T113" fmla="*/ T112 w 3626"/>
                <a:gd name="T114" fmla="+- 0 4617 1043"/>
                <a:gd name="T115" fmla="*/ 4617 h 3626"/>
                <a:gd name="T116" fmla="+- 0 14287 12325"/>
                <a:gd name="T117" fmla="*/ T116 w 3626"/>
                <a:gd name="T118" fmla="+- 0 4663 1043"/>
                <a:gd name="T119" fmla="*/ 4663 h 3626"/>
                <a:gd name="T120" fmla="+- 0 13990 12325"/>
                <a:gd name="T121" fmla="*/ T120 w 3626"/>
                <a:gd name="T122" fmla="+- 0 4663 1043"/>
                <a:gd name="T123" fmla="*/ 4663 h 3626"/>
                <a:gd name="T124" fmla="+- 0 13703 12325"/>
                <a:gd name="T125" fmla="*/ T124 w 3626"/>
                <a:gd name="T126" fmla="+- 0 4617 1043"/>
                <a:gd name="T127" fmla="*/ 4617 h 3626"/>
                <a:gd name="T128" fmla="+- 0 13433 12325"/>
                <a:gd name="T129" fmla="*/ T128 w 3626"/>
                <a:gd name="T130" fmla="+- 0 4527 1043"/>
                <a:gd name="T131" fmla="*/ 4527 h 3626"/>
                <a:gd name="T132" fmla="+- 0 13183 12325"/>
                <a:gd name="T133" fmla="*/ T132 w 3626"/>
                <a:gd name="T134" fmla="+- 0 4398 1043"/>
                <a:gd name="T135" fmla="*/ 4398 h 3626"/>
                <a:gd name="T136" fmla="+- 0 12958 12325"/>
                <a:gd name="T137" fmla="*/ T136 w 3626"/>
                <a:gd name="T138" fmla="+- 0 4233 1043"/>
                <a:gd name="T139" fmla="*/ 4233 h 3626"/>
                <a:gd name="T140" fmla="+- 0 12762 12325"/>
                <a:gd name="T141" fmla="*/ T140 w 3626"/>
                <a:gd name="T142" fmla="+- 0 4036 1043"/>
                <a:gd name="T143" fmla="*/ 4036 h 3626"/>
                <a:gd name="T144" fmla="+- 0 12597 12325"/>
                <a:gd name="T145" fmla="*/ T144 w 3626"/>
                <a:gd name="T146" fmla="+- 0 3811 1043"/>
                <a:gd name="T147" fmla="*/ 3811 h 3626"/>
                <a:gd name="T148" fmla="+- 0 12468 12325"/>
                <a:gd name="T149" fmla="*/ T148 w 3626"/>
                <a:gd name="T150" fmla="+- 0 3562 1043"/>
                <a:gd name="T151" fmla="*/ 3562 h 3626"/>
                <a:gd name="T152" fmla="+- 0 12378 12325"/>
                <a:gd name="T153" fmla="*/ T152 w 3626"/>
                <a:gd name="T154" fmla="+- 0 3292 1043"/>
                <a:gd name="T155" fmla="*/ 3292 h 3626"/>
                <a:gd name="T156" fmla="+- 0 12331 12325"/>
                <a:gd name="T157" fmla="*/ T156 w 3626"/>
                <a:gd name="T158" fmla="+- 0 3005 1043"/>
                <a:gd name="T159" fmla="*/ 3005 h 362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3626" h="3626">
                  <a:moveTo>
                    <a:pt x="0" y="1813"/>
                  </a:moveTo>
                  <a:lnTo>
                    <a:pt x="6" y="1665"/>
                  </a:lnTo>
                  <a:lnTo>
                    <a:pt x="24" y="1519"/>
                  </a:lnTo>
                  <a:lnTo>
                    <a:pt x="53" y="1378"/>
                  </a:lnTo>
                  <a:lnTo>
                    <a:pt x="93" y="1240"/>
                  </a:lnTo>
                  <a:lnTo>
                    <a:pt x="143" y="1108"/>
                  </a:lnTo>
                  <a:lnTo>
                    <a:pt x="203" y="980"/>
                  </a:lnTo>
                  <a:lnTo>
                    <a:pt x="272" y="858"/>
                  </a:lnTo>
                  <a:lnTo>
                    <a:pt x="350" y="742"/>
                  </a:lnTo>
                  <a:lnTo>
                    <a:pt x="437" y="633"/>
                  </a:lnTo>
                  <a:lnTo>
                    <a:pt x="531" y="531"/>
                  </a:lnTo>
                  <a:lnTo>
                    <a:pt x="633" y="437"/>
                  </a:lnTo>
                  <a:lnTo>
                    <a:pt x="743" y="350"/>
                  </a:lnTo>
                  <a:lnTo>
                    <a:pt x="858" y="272"/>
                  </a:lnTo>
                  <a:lnTo>
                    <a:pt x="980" y="202"/>
                  </a:lnTo>
                  <a:lnTo>
                    <a:pt x="1108" y="143"/>
                  </a:lnTo>
                  <a:lnTo>
                    <a:pt x="1240" y="93"/>
                  </a:lnTo>
                  <a:lnTo>
                    <a:pt x="1378" y="53"/>
                  </a:lnTo>
                  <a:lnTo>
                    <a:pt x="1519" y="24"/>
                  </a:lnTo>
                  <a:lnTo>
                    <a:pt x="1665" y="6"/>
                  </a:lnTo>
                  <a:lnTo>
                    <a:pt x="1813" y="0"/>
                  </a:lnTo>
                  <a:lnTo>
                    <a:pt x="1962" y="6"/>
                  </a:lnTo>
                  <a:lnTo>
                    <a:pt x="2108" y="24"/>
                  </a:lnTo>
                  <a:lnTo>
                    <a:pt x="2249" y="53"/>
                  </a:lnTo>
                  <a:lnTo>
                    <a:pt x="2387" y="93"/>
                  </a:lnTo>
                  <a:lnTo>
                    <a:pt x="2519" y="143"/>
                  </a:lnTo>
                  <a:lnTo>
                    <a:pt x="2647" y="202"/>
                  </a:lnTo>
                  <a:lnTo>
                    <a:pt x="2769" y="272"/>
                  </a:lnTo>
                  <a:lnTo>
                    <a:pt x="2884" y="350"/>
                  </a:lnTo>
                  <a:lnTo>
                    <a:pt x="2993" y="437"/>
                  </a:lnTo>
                  <a:lnTo>
                    <a:pt x="3096" y="531"/>
                  </a:lnTo>
                  <a:lnTo>
                    <a:pt x="3190" y="633"/>
                  </a:lnTo>
                  <a:lnTo>
                    <a:pt x="3277" y="742"/>
                  </a:lnTo>
                  <a:lnTo>
                    <a:pt x="3355" y="858"/>
                  </a:lnTo>
                  <a:lnTo>
                    <a:pt x="3424" y="980"/>
                  </a:lnTo>
                  <a:lnTo>
                    <a:pt x="3484" y="1108"/>
                  </a:lnTo>
                  <a:lnTo>
                    <a:pt x="3534" y="1240"/>
                  </a:lnTo>
                  <a:lnTo>
                    <a:pt x="3574" y="1378"/>
                  </a:lnTo>
                  <a:lnTo>
                    <a:pt x="3603" y="1519"/>
                  </a:lnTo>
                  <a:lnTo>
                    <a:pt x="3621" y="1665"/>
                  </a:lnTo>
                  <a:lnTo>
                    <a:pt x="3627" y="1813"/>
                  </a:lnTo>
                  <a:lnTo>
                    <a:pt x="3621" y="1962"/>
                  </a:lnTo>
                  <a:lnTo>
                    <a:pt x="3603" y="2107"/>
                  </a:lnTo>
                  <a:lnTo>
                    <a:pt x="3574" y="2249"/>
                  </a:lnTo>
                  <a:lnTo>
                    <a:pt x="3534" y="2386"/>
                  </a:lnTo>
                  <a:lnTo>
                    <a:pt x="3484" y="2519"/>
                  </a:lnTo>
                  <a:lnTo>
                    <a:pt x="3424" y="2647"/>
                  </a:lnTo>
                  <a:lnTo>
                    <a:pt x="3355" y="2768"/>
                  </a:lnTo>
                  <a:lnTo>
                    <a:pt x="3277" y="2884"/>
                  </a:lnTo>
                  <a:lnTo>
                    <a:pt x="3190" y="2993"/>
                  </a:lnTo>
                  <a:lnTo>
                    <a:pt x="3096" y="3095"/>
                  </a:lnTo>
                  <a:lnTo>
                    <a:pt x="2993" y="3190"/>
                  </a:lnTo>
                  <a:lnTo>
                    <a:pt x="2884" y="3277"/>
                  </a:lnTo>
                  <a:lnTo>
                    <a:pt x="2769" y="3355"/>
                  </a:lnTo>
                  <a:lnTo>
                    <a:pt x="2647" y="3424"/>
                  </a:lnTo>
                  <a:lnTo>
                    <a:pt x="2519" y="3484"/>
                  </a:lnTo>
                  <a:lnTo>
                    <a:pt x="2387" y="3534"/>
                  </a:lnTo>
                  <a:lnTo>
                    <a:pt x="2249" y="3574"/>
                  </a:lnTo>
                  <a:lnTo>
                    <a:pt x="2108" y="3603"/>
                  </a:lnTo>
                  <a:lnTo>
                    <a:pt x="1962" y="3620"/>
                  </a:lnTo>
                  <a:lnTo>
                    <a:pt x="1813" y="3626"/>
                  </a:lnTo>
                  <a:lnTo>
                    <a:pt x="1665" y="3620"/>
                  </a:lnTo>
                  <a:lnTo>
                    <a:pt x="1519" y="3603"/>
                  </a:lnTo>
                  <a:lnTo>
                    <a:pt x="1378" y="3574"/>
                  </a:lnTo>
                  <a:lnTo>
                    <a:pt x="1240" y="3534"/>
                  </a:lnTo>
                  <a:lnTo>
                    <a:pt x="1108" y="3484"/>
                  </a:lnTo>
                  <a:lnTo>
                    <a:pt x="980" y="3424"/>
                  </a:lnTo>
                  <a:lnTo>
                    <a:pt x="858" y="3355"/>
                  </a:lnTo>
                  <a:lnTo>
                    <a:pt x="743" y="3277"/>
                  </a:lnTo>
                  <a:lnTo>
                    <a:pt x="633" y="3190"/>
                  </a:lnTo>
                  <a:lnTo>
                    <a:pt x="531" y="3095"/>
                  </a:lnTo>
                  <a:lnTo>
                    <a:pt x="437" y="2993"/>
                  </a:lnTo>
                  <a:lnTo>
                    <a:pt x="350" y="2884"/>
                  </a:lnTo>
                  <a:lnTo>
                    <a:pt x="272" y="2768"/>
                  </a:lnTo>
                  <a:lnTo>
                    <a:pt x="203" y="2647"/>
                  </a:lnTo>
                  <a:lnTo>
                    <a:pt x="143" y="2519"/>
                  </a:lnTo>
                  <a:lnTo>
                    <a:pt x="93" y="2386"/>
                  </a:lnTo>
                  <a:lnTo>
                    <a:pt x="53" y="2249"/>
                  </a:lnTo>
                  <a:lnTo>
                    <a:pt x="24" y="2107"/>
                  </a:lnTo>
                  <a:lnTo>
                    <a:pt x="6" y="1962"/>
                  </a:lnTo>
                  <a:lnTo>
                    <a:pt x="0" y="1813"/>
                  </a:lnTo>
                  <a:close/>
                </a:path>
              </a:pathLst>
            </a:custGeom>
            <a:solidFill>
              <a:schemeClr val="bg2">
                <a:alpha val="15000"/>
              </a:schemeClr>
            </a:solidFill>
            <a:ln w="25908">
              <a:solidFill>
                <a:srgbClr val="FFFFFF"/>
              </a:solid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2" name="Freeform 16"/>
            <p:cNvSpPr>
              <a:spLocks/>
            </p:cNvSpPr>
            <p:nvPr/>
          </p:nvSpPr>
          <p:spPr bwMode="gray">
            <a:xfrm>
              <a:off x="3494744" y="3383030"/>
              <a:ext cx="2013780" cy="2013928"/>
            </a:xfrm>
            <a:custGeom>
              <a:avLst/>
              <a:gdLst>
                <a:gd name="T0" fmla="+- 0 12812 11147"/>
                <a:gd name="T1" fmla="*/ T0 w 3629"/>
                <a:gd name="T2" fmla="+- 0 1728 1722"/>
                <a:gd name="T3" fmla="*/ 1728 h 3629"/>
                <a:gd name="T4" fmla="+- 0 12525 11147"/>
                <a:gd name="T5" fmla="*/ T4 w 3629"/>
                <a:gd name="T6" fmla="+- 0 1775 1722"/>
                <a:gd name="T7" fmla="*/ 1775 h 3629"/>
                <a:gd name="T8" fmla="+- 0 12255 11147"/>
                <a:gd name="T9" fmla="*/ T8 w 3629"/>
                <a:gd name="T10" fmla="+- 0 1865 1722"/>
                <a:gd name="T11" fmla="*/ 1865 h 3629"/>
                <a:gd name="T12" fmla="+- 0 12005 11147"/>
                <a:gd name="T13" fmla="*/ T12 w 3629"/>
                <a:gd name="T14" fmla="+- 0 1994 1722"/>
                <a:gd name="T15" fmla="*/ 1994 h 3629"/>
                <a:gd name="T16" fmla="+- 0 11780 11147"/>
                <a:gd name="T17" fmla="*/ T16 w 3629"/>
                <a:gd name="T18" fmla="+- 0 2159 1722"/>
                <a:gd name="T19" fmla="*/ 2159 h 3629"/>
                <a:gd name="T20" fmla="+- 0 11584 11147"/>
                <a:gd name="T21" fmla="*/ T20 w 3629"/>
                <a:gd name="T22" fmla="+- 0 2356 1722"/>
                <a:gd name="T23" fmla="*/ 2356 h 3629"/>
                <a:gd name="T24" fmla="+- 0 11419 11147"/>
                <a:gd name="T25" fmla="*/ T24 w 3629"/>
                <a:gd name="T26" fmla="+- 0 2581 1722"/>
                <a:gd name="T27" fmla="*/ 2581 h 3629"/>
                <a:gd name="T28" fmla="+- 0 11289 11147"/>
                <a:gd name="T29" fmla="*/ T28 w 3629"/>
                <a:gd name="T30" fmla="+- 0 2830 1722"/>
                <a:gd name="T31" fmla="*/ 2830 h 3629"/>
                <a:gd name="T32" fmla="+- 0 11200 11147"/>
                <a:gd name="T33" fmla="*/ T32 w 3629"/>
                <a:gd name="T34" fmla="+- 0 3101 1722"/>
                <a:gd name="T35" fmla="*/ 3101 h 3629"/>
                <a:gd name="T36" fmla="+- 0 11153 11147"/>
                <a:gd name="T37" fmla="*/ T36 w 3629"/>
                <a:gd name="T38" fmla="+- 0 3388 1722"/>
                <a:gd name="T39" fmla="*/ 3388 h 3629"/>
                <a:gd name="T40" fmla="+- 0 11153 11147"/>
                <a:gd name="T41" fmla="*/ T40 w 3629"/>
                <a:gd name="T42" fmla="+- 0 3685 1722"/>
                <a:gd name="T43" fmla="*/ 3685 h 3629"/>
                <a:gd name="T44" fmla="+- 0 11200 11147"/>
                <a:gd name="T45" fmla="*/ T44 w 3629"/>
                <a:gd name="T46" fmla="+- 0 3973 1722"/>
                <a:gd name="T47" fmla="*/ 3973 h 3629"/>
                <a:gd name="T48" fmla="+- 0 11289 11147"/>
                <a:gd name="T49" fmla="*/ T48 w 3629"/>
                <a:gd name="T50" fmla="+- 0 4243 1722"/>
                <a:gd name="T51" fmla="*/ 4243 h 3629"/>
                <a:gd name="T52" fmla="+- 0 11419 11147"/>
                <a:gd name="T53" fmla="*/ T52 w 3629"/>
                <a:gd name="T54" fmla="+- 0 4492 1722"/>
                <a:gd name="T55" fmla="*/ 4492 h 3629"/>
                <a:gd name="T56" fmla="+- 0 11584 11147"/>
                <a:gd name="T57" fmla="*/ T56 w 3629"/>
                <a:gd name="T58" fmla="+- 0 4717 1722"/>
                <a:gd name="T59" fmla="*/ 4717 h 3629"/>
                <a:gd name="T60" fmla="+- 0 11780 11147"/>
                <a:gd name="T61" fmla="*/ T60 w 3629"/>
                <a:gd name="T62" fmla="+- 0 4914 1722"/>
                <a:gd name="T63" fmla="*/ 4914 h 3629"/>
                <a:gd name="T64" fmla="+- 0 12005 11147"/>
                <a:gd name="T65" fmla="*/ T64 w 3629"/>
                <a:gd name="T66" fmla="+- 0 5079 1722"/>
                <a:gd name="T67" fmla="*/ 5079 h 3629"/>
                <a:gd name="T68" fmla="+- 0 12255 11147"/>
                <a:gd name="T69" fmla="*/ T68 w 3629"/>
                <a:gd name="T70" fmla="+- 0 5208 1722"/>
                <a:gd name="T71" fmla="*/ 5208 h 3629"/>
                <a:gd name="T72" fmla="+- 0 12525 11147"/>
                <a:gd name="T73" fmla="*/ T72 w 3629"/>
                <a:gd name="T74" fmla="+- 0 5298 1722"/>
                <a:gd name="T75" fmla="*/ 5298 h 3629"/>
                <a:gd name="T76" fmla="+- 0 12812 11147"/>
                <a:gd name="T77" fmla="*/ T76 w 3629"/>
                <a:gd name="T78" fmla="+- 0 5345 1722"/>
                <a:gd name="T79" fmla="*/ 5345 h 3629"/>
                <a:gd name="T80" fmla="+- 0 13110 11147"/>
                <a:gd name="T81" fmla="*/ T80 w 3629"/>
                <a:gd name="T82" fmla="+- 0 5345 1722"/>
                <a:gd name="T83" fmla="*/ 5345 h 3629"/>
                <a:gd name="T84" fmla="+- 0 13397 11147"/>
                <a:gd name="T85" fmla="*/ T84 w 3629"/>
                <a:gd name="T86" fmla="+- 0 5298 1722"/>
                <a:gd name="T87" fmla="*/ 5298 h 3629"/>
                <a:gd name="T88" fmla="+- 0 13667 11147"/>
                <a:gd name="T89" fmla="*/ T88 w 3629"/>
                <a:gd name="T90" fmla="+- 0 5208 1722"/>
                <a:gd name="T91" fmla="*/ 5208 h 3629"/>
                <a:gd name="T92" fmla="+- 0 13917 11147"/>
                <a:gd name="T93" fmla="*/ T92 w 3629"/>
                <a:gd name="T94" fmla="+- 0 5079 1722"/>
                <a:gd name="T95" fmla="*/ 5079 h 3629"/>
                <a:gd name="T96" fmla="+- 0 14142 11147"/>
                <a:gd name="T97" fmla="*/ T96 w 3629"/>
                <a:gd name="T98" fmla="+- 0 4914 1722"/>
                <a:gd name="T99" fmla="*/ 4914 h 3629"/>
                <a:gd name="T100" fmla="+- 0 14339 11147"/>
                <a:gd name="T101" fmla="*/ T100 w 3629"/>
                <a:gd name="T102" fmla="+- 0 4717 1722"/>
                <a:gd name="T103" fmla="*/ 4717 h 3629"/>
                <a:gd name="T104" fmla="+- 0 14504 11147"/>
                <a:gd name="T105" fmla="*/ T104 w 3629"/>
                <a:gd name="T106" fmla="+- 0 4492 1722"/>
                <a:gd name="T107" fmla="*/ 4492 h 3629"/>
                <a:gd name="T108" fmla="+- 0 14633 11147"/>
                <a:gd name="T109" fmla="*/ T108 w 3629"/>
                <a:gd name="T110" fmla="+- 0 4243 1722"/>
                <a:gd name="T111" fmla="*/ 4243 h 3629"/>
                <a:gd name="T112" fmla="+- 0 14723 11147"/>
                <a:gd name="T113" fmla="*/ T112 w 3629"/>
                <a:gd name="T114" fmla="+- 0 3973 1722"/>
                <a:gd name="T115" fmla="*/ 3973 h 3629"/>
                <a:gd name="T116" fmla="+- 0 14770 11147"/>
                <a:gd name="T117" fmla="*/ T116 w 3629"/>
                <a:gd name="T118" fmla="+- 0 3685 1722"/>
                <a:gd name="T119" fmla="*/ 3685 h 3629"/>
                <a:gd name="T120" fmla="+- 0 14770 11147"/>
                <a:gd name="T121" fmla="*/ T120 w 3629"/>
                <a:gd name="T122" fmla="+- 0 3388 1722"/>
                <a:gd name="T123" fmla="*/ 3388 h 3629"/>
                <a:gd name="T124" fmla="+- 0 14723 11147"/>
                <a:gd name="T125" fmla="*/ T124 w 3629"/>
                <a:gd name="T126" fmla="+- 0 3101 1722"/>
                <a:gd name="T127" fmla="*/ 3101 h 3629"/>
                <a:gd name="T128" fmla="+- 0 14633 11147"/>
                <a:gd name="T129" fmla="*/ T128 w 3629"/>
                <a:gd name="T130" fmla="+- 0 2830 1722"/>
                <a:gd name="T131" fmla="*/ 2830 h 3629"/>
                <a:gd name="T132" fmla="+- 0 14504 11147"/>
                <a:gd name="T133" fmla="*/ T132 w 3629"/>
                <a:gd name="T134" fmla="+- 0 2581 1722"/>
                <a:gd name="T135" fmla="*/ 2581 h 3629"/>
                <a:gd name="T136" fmla="+- 0 14339 11147"/>
                <a:gd name="T137" fmla="*/ T136 w 3629"/>
                <a:gd name="T138" fmla="+- 0 2356 1722"/>
                <a:gd name="T139" fmla="*/ 2356 h 3629"/>
                <a:gd name="T140" fmla="+- 0 14142 11147"/>
                <a:gd name="T141" fmla="*/ T140 w 3629"/>
                <a:gd name="T142" fmla="+- 0 2159 1722"/>
                <a:gd name="T143" fmla="*/ 2159 h 3629"/>
                <a:gd name="T144" fmla="+- 0 13917 11147"/>
                <a:gd name="T145" fmla="*/ T144 w 3629"/>
                <a:gd name="T146" fmla="+- 0 1994 1722"/>
                <a:gd name="T147" fmla="*/ 1994 h 3629"/>
                <a:gd name="T148" fmla="+- 0 13667 11147"/>
                <a:gd name="T149" fmla="*/ T148 w 3629"/>
                <a:gd name="T150" fmla="+- 0 1865 1722"/>
                <a:gd name="T151" fmla="*/ 1865 h 3629"/>
                <a:gd name="T152" fmla="+- 0 13397 11147"/>
                <a:gd name="T153" fmla="*/ T152 w 3629"/>
                <a:gd name="T154" fmla="+- 0 1775 1722"/>
                <a:gd name="T155" fmla="*/ 1775 h 3629"/>
                <a:gd name="T156" fmla="+- 0 13110 11147"/>
                <a:gd name="T157" fmla="*/ T156 w 3629"/>
                <a:gd name="T158" fmla="+- 0 1728 1722"/>
                <a:gd name="T159" fmla="*/ 1728 h 362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3629" h="3629">
                  <a:moveTo>
                    <a:pt x="1814" y="0"/>
                  </a:moveTo>
                  <a:lnTo>
                    <a:pt x="1665" y="6"/>
                  </a:lnTo>
                  <a:lnTo>
                    <a:pt x="1520" y="24"/>
                  </a:lnTo>
                  <a:lnTo>
                    <a:pt x="1378" y="53"/>
                  </a:lnTo>
                  <a:lnTo>
                    <a:pt x="1241" y="93"/>
                  </a:lnTo>
                  <a:lnTo>
                    <a:pt x="1108" y="143"/>
                  </a:lnTo>
                  <a:lnTo>
                    <a:pt x="980" y="203"/>
                  </a:lnTo>
                  <a:lnTo>
                    <a:pt x="858" y="272"/>
                  </a:lnTo>
                  <a:lnTo>
                    <a:pt x="743" y="350"/>
                  </a:lnTo>
                  <a:lnTo>
                    <a:pt x="633" y="437"/>
                  </a:lnTo>
                  <a:lnTo>
                    <a:pt x="531" y="532"/>
                  </a:lnTo>
                  <a:lnTo>
                    <a:pt x="437" y="634"/>
                  </a:lnTo>
                  <a:lnTo>
                    <a:pt x="350" y="743"/>
                  </a:lnTo>
                  <a:lnTo>
                    <a:pt x="272" y="859"/>
                  </a:lnTo>
                  <a:lnTo>
                    <a:pt x="202" y="981"/>
                  </a:lnTo>
                  <a:lnTo>
                    <a:pt x="142" y="1108"/>
                  </a:lnTo>
                  <a:lnTo>
                    <a:pt x="92" y="1241"/>
                  </a:lnTo>
                  <a:lnTo>
                    <a:pt x="53" y="1379"/>
                  </a:lnTo>
                  <a:lnTo>
                    <a:pt x="24" y="1520"/>
                  </a:lnTo>
                  <a:lnTo>
                    <a:pt x="6" y="1666"/>
                  </a:lnTo>
                  <a:lnTo>
                    <a:pt x="0" y="1815"/>
                  </a:lnTo>
                  <a:lnTo>
                    <a:pt x="6" y="1963"/>
                  </a:lnTo>
                  <a:lnTo>
                    <a:pt x="24" y="2109"/>
                  </a:lnTo>
                  <a:lnTo>
                    <a:pt x="53" y="2251"/>
                  </a:lnTo>
                  <a:lnTo>
                    <a:pt x="92" y="2388"/>
                  </a:lnTo>
                  <a:lnTo>
                    <a:pt x="142" y="2521"/>
                  </a:lnTo>
                  <a:lnTo>
                    <a:pt x="202" y="2648"/>
                  </a:lnTo>
                  <a:lnTo>
                    <a:pt x="272" y="2770"/>
                  </a:lnTo>
                  <a:lnTo>
                    <a:pt x="350" y="2886"/>
                  </a:lnTo>
                  <a:lnTo>
                    <a:pt x="437" y="2995"/>
                  </a:lnTo>
                  <a:lnTo>
                    <a:pt x="531" y="3098"/>
                  </a:lnTo>
                  <a:lnTo>
                    <a:pt x="633" y="3192"/>
                  </a:lnTo>
                  <a:lnTo>
                    <a:pt x="743" y="3279"/>
                  </a:lnTo>
                  <a:lnTo>
                    <a:pt x="858" y="3357"/>
                  </a:lnTo>
                  <a:lnTo>
                    <a:pt x="980" y="3427"/>
                  </a:lnTo>
                  <a:lnTo>
                    <a:pt x="1108" y="3486"/>
                  </a:lnTo>
                  <a:lnTo>
                    <a:pt x="1241" y="3537"/>
                  </a:lnTo>
                  <a:lnTo>
                    <a:pt x="1378" y="3576"/>
                  </a:lnTo>
                  <a:lnTo>
                    <a:pt x="1520" y="3605"/>
                  </a:lnTo>
                  <a:lnTo>
                    <a:pt x="1665" y="3623"/>
                  </a:lnTo>
                  <a:lnTo>
                    <a:pt x="1814" y="3629"/>
                  </a:lnTo>
                  <a:lnTo>
                    <a:pt x="1963" y="3623"/>
                  </a:lnTo>
                  <a:lnTo>
                    <a:pt x="2108" y="3605"/>
                  </a:lnTo>
                  <a:lnTo>
                    <a:pt x="2250" y="3576"/>
                  </a:lnTo>
                  <a:lnTo>
                    <a:pt x="2388" y="3537"/>
                  </a:lnTo>
                  <a:lnTo>
                    <a:pt x="2520" y="3486"/>
                  </a:lnTo>
                  <a:lnTo>
                    <a:pt x="2648" y="3427"/>
                  </a:lnTo>
                  <a:lnTo>
                    <a:pt x="2770" y="3357"/>
                  </a:lnTo>
                  <a:lnTo>
                    <a:pt x="2886" y="3279"/>
                  </a:lnTo>
                  <a:lnTo>
                    <a:pt x="2995" y="3192"/>
                  </a:lnTo>
                  <a:lnTo>
                    <a:pt x="3097" y="3098"/>
                  </a:lnTo>
                  <a:lnTo>
                    <a:pt x="3192" y="2995"/>
                  </a:lnTo>
                  <a:lnTo>
                    <a:pt x="3279" y="2886"/>
                  </a:lnTo>
                  <a:lnTo>
                    <a:pt x="3357" y="2770"/>
                  </a:lnTo>
                  <a:lnTo>
                    <a:pt x="3426" y="2648"/>
                  </a:lnTo>
                  <a:lnTo>
                    <a:pt x="3486" y="2521"/>
                  </a:lnTo>
                  <a:lnTo>
                    <a:pt x="3536" y="2388"/>
                  </a:lnTo>
                  <a:lnTo>
                    <a:pt x="3576" y="2251"/>
                  </a:lnTo>
                  <a:lnTo>
                    <a:pt x="3605" y="2109"/>
                  </a:lnTo>
                  <a:lnTo>
                    <a:pt x="3623" y="1963"/>
                  </a:lnTo>
                  <a:lnTo>
                    <a:pt x="3629" y="1815"/>
                  </a:lnTo>
                  <a:lnTo>
                    <a:pt x="3623" y="1666"/>
                  </a:lnTo>
                  <a:lnTo>
                    <a:pt x="3605" y="1520"/>
                  </a:lnTo>
                  <a:lnTo>
                    <a:pt x="3576" y="1379"/>
                  </a:lnTo>
                  <a:lnTo>
                    <a:pt x="3536" y="1241"/>
                  </a:lnTo>
                  <a:lnTo>
                    <a:pt x="3486" y="1108"/>
                  </a:lnTo>
                  <a:lnTo>
                    <a:pt x="3426" y="981"/>
                  </a:lnTo>
                  <a:lnTo>
                    <a:pt x="3357" y="859"/>
                  </a:lnTo>
                  <a:lnTo>
                    <a:pt x="3279" y="743"/>
                  </a:lnTo>
                  <a:lnTo>
                    <a:pt x="3192" y="634"/>
                  </a:lnTo>
                  <a:lnTo>
                    <a:pt x="3097" y="532"/>
                  </a:lnTo>
                  <a:lnTo>
                    <a:pt x="2995" y="437"/>
                  </a:lnTo>
                  <a:lnTo>
                    <a:pt x="2886" y="350"/>
                  </a:lnTo>
                  <a:lnTo>
                    <a:pt x="2770" y="272"/>
                  </a:lnTo>
                  <a:lnTo>
                    <a:pt x="2648" y="203"/>
                  </a:lnTo>
                  <a:lnTo>
                    <a:pt x="2520" y="143"/>
                  </a:lnTo>
                  <a:lnTo>
                    <a:pt x="2388" y="93"/>
                  </a:lnTo>
                  <a:lnTo>
                    <a:pt x="2250" y="53"/>
                  </a:lnTo>
                  <a:lnTo>
                    <a:pt x="2108" y="24"/>
                  </a:lnTo>
                  <a:lnTo>
                    <a:pt x="1963" y="6"/>
                  </a:lnTo>
                  <a:lnTo>
                    <a:pt x="1814" y="0"/>
                  </a:lnTo>
                </a:path>
              </a:pathLst>
            </a:custGeom>
            <a:solidFill>
              <a:srgbClr val="C00000">
                <a:alpha val="15000"/>
              </a:srgbClr>
            </a:solidFill>
            <a:ln>
              <a:noFill/>
            </a:ln>
          </p:spPr>
          <p:txBody>
            <a:bodyPr vert="horz" wrap="square" lIns="91440" tIns="45720" rIns="91440" bIns="45720" numCol="1" anchor="t" anchorCtr="0" compatLnSpc="1">
              <a:prstTxWarp prst="textNoShape">
                <a:avLst/>
              </a:prstTxWarp>
            </a:bodyPr>
            <a:lstStyle/>
            <a:p>
              <a:endParaRPr lang="en-IN"/>
            </a:p>
          </p:txBody>
        </p:sp>
        <p:sp>
          <p:nvSpPr>
            <p:cNvPr id="21" name="Freeform 18"/>
            <p:cNvSpPr>
              <a:spLocks/>
            </p:cNvSpPr>
            <p:nvPr/>
          </p:nvSpPr>
          <p:spPr bwMode="gray">
            <a:xfrm>
              <a:off x="3494744" y="3383030"/>
              <a:ext cx="2013780" cy="2013928"/>
            </a:xfrm>
            <a:custGeom>
              <a:avLst/>
              <a:gdLst>
                <a:gd name="T0" fmla="+- 0 11153 11147"/>
                <a:gd name="T1" fmla="*/ T0 w 3629"/>
                <a:gd name="T2" fmla="+- 0 3388 1722"/>
                <a:gd name="T3" fmla="*/ 3388 h 3629"/>
                <a:gd name="T4" fmla="+- 0 11200 11147"/>
                <a:gd name="T5" fmla="*/ T4 w 3629"/>
                <a:gd name="T6" fmla="+- 0 3101 1722"/>
                <a:gd name="T7" fmla="*/ 3101 h 3629"/>
                <a:gd name="T8" fmla="+- 0 11289 11147"/>
                <a:gd name="T9" fmla="*/ T8 w 3629"/>
                <a:gd name="T10" fmla="+- 0 2830 1722"/>
                <a:gd name="T11" fmla="*/ 2830 h 3629"/>
                <a:gd name="T12" fmla="+- 0 11419 11147"/>
                <a:gd name="T13" fmla="*/ T12 w 3629"/>
                <a:gd name="T14" fmla="+- 0 2581 1722"/>
                <a:gd name="T15" fmla="*/ 2581 h 3629"/>
                <a:gd name="T16" fmla="+- 0 11584 11147"/>
                <a:gd name="T17" fmla="*/ T16 w 3629"/>
                <a:gd name="T18" fmla="+- 0 2356 1722"/>
                <a:gd name="T19" fmla="*/ 2356 h 3629"/>
                <a:gd name="T20" fmla="+- 0 11780 11147"/>
                <a:gd name="T21" fmla="*/ T20 w 3629"/>
                <a:gd name="T22" fmla="+- 0 2159 1722"/>
                <a:gd name="T23" fmla="*/ 2159 h 3629"/>
                <a:gd name="T24" fmla="+- 0 12005 11147"/>
                <a:gd name="T25" fmla="*/ T24 w 3629"/>
                <a:gd name="T26" fmla="+- 0 1994 1722"/>
                <a:gd name="T27" fmla="*/ 1994 h 3629"/>
                <a:gd name="T28" fmla="+- 0 12255 11147"/>
                <a:gd name="T29" fmla="*/ T28 w 3629"/>
                <a:gd name="T30" fmla="+- 0 1865 1722"/>
                <a:gd name="T31" fmla="*/ 1865 h 3629"/>
                <a:gd name="T32" fmla="+- 0 12525 11147"/>
                <a:gd name="T33" fmla="*/ T32 w 3629"/>
                <a:gd name="T34" fmla="+- 0 1775 1722"/>
                <a:gd name="T35" fmla="*/ 1775 h 3629"/>
                <a:gd name="T36" fmla="+- 0 12812 11147"/>
                <a:gd name="T37" fmla="*/ T36 w 3629"/>
                <a:gd name="T38" fmla="+- 0 1728 1722"/>
                <a:gd name="T39" fmla="*/ 1728 h 3629"/>
                <a:gd name="T40" fmla="+- 0 13110 11147"/>
                <a:gd name="T41" fmla="*/ T40 w 3629"/>
                <a:gd name="T42" fmla="+- 0 1728 1722"/>
                <a:gd name="T43" fmla="*/ 1728 h 3629"/>
                <a:gd name="T44" fmla="+- 0 13397 11147"/>
                <a:gd name="T45" fmla="*/ T44 w 3629"/>
                <a:gd name="T46" fmla="+- 0 1775 1722"/>
                <a:gd name="T47" fmla="*/ 1775 h 3629"/>
                <a:gd name="T48" fmla="+- 0 13667 11147"/>
                <a:gd name="T49" fmla="*/ T48 w 3629"/>
                <a:gd name="T50" fmla="+- 0 1865 1722"/>
                <a:gd name="T51" fmla="*/ 1865 h 3629"/>
                <a:gd name="T52" fmla="+- 0 13917 11147"/>
                <a:gd name="T53" fmla="*/ T52 w 3629"/>
                <a:gd name="T54" fmla="+- 0 1994 1722"/>
                <a:gd name="T55" fmla="*/ 1994 h 3629"/>
                <a:gd name="T56" fmla="+- 0 14142 11147"/>
                <a:gd name="T57" fmla="*/ T56 w 3629"/>
                <a:gd name="T58" fmla="+- 0 2159 1722"/>
                <a:gd name="T59" fmla="*/ 2159 h 3629"/>
                <a:gd name="T60" fmla="+- 0 14339 11147"/>
                <a:gd name="T61" fmla="*/ T60 w 3629"/>
                <a:gd name="T62" fmla="+- 0 2356 1722"/>
                <a:gd name="T63" fmla="*/ 2356 h 3629"/>
                <a:gd name="T64" fmla="+- 0 14504 11147"/>
                <a:gd name="T65" fmla="*/ T64 w 3629"/>
                <a:gd name="T66" fmla="+- 0 2581 1722"/>
                <a:gd name="T67" fmla="*/ 2581 h 3629"/>
                <a:gd name="T68" fmla="+- 0 14633 11147"/>
                <a:gd name="T69" fmla="*/ T68 w 3629"/>
                <a:gd name="T70" fmla="+- 0 2830 1722"/>
                <a:gd name="T71" fmla="*/ 2830 h 3629"/>
                <a:gd name="T72" fmla="+- 0 14723 11147"/>
                <a:gd name="T73" fmla="*/ T72 w 3629"/>
                <a:gd name="T74" fmla="+- 0 3101 1722"/>
                <a:gd name="T75" fmla="*/ 3101 h 3629"/>
                <a:gd name="T76" fmla="+- 0 14770 11147"/>
                <a:gd name="T77" fmla="*/ T76 w 3629"/>
                <a:gd name="T78" fmla="+- 0 3388 1722"/>
                <a:gd name="T79" fmla="*/ 3388 h 3629"/>
                <a:gd name="T80" fmla="+- 0 14770 11147"/>
                <a:gd name="T81" fmla="*/ T80 w 3629"/>
                <a:gd name="T82" fmla="+- 0 3685 1722"/>
                <a:gd name="T83" fmla="*/ 3685 h 3629"/>
                <a:gd name="T84" fmla="+- 0 14723 11147"/>
                <a:gd name="T85" fmla="*/ T84 w 3629"/>
                <a:gd name="T86" fmla="+- 0 3973 1722"/>
                <a:gd name="T87" fmla="*/ 3973 h 3629"/>
                <a:gd name="T88" fmla="+- 0 14633 11147"/>
                <a:gd name="T89" fmla="*/ T88 w 3629"/>
                <a:gd name="T90" fmla="+- 0 4243 1722"/>
                <a:gd name="T91" fmla="*/ 4243 h 3629"/>
                <a:gd name="T92" fmla="+- 0 14504 11147"/>
                <a:gd name="T93" fmla="*/ T92 w 3629"/>
                <a:gd name="T94" fmla="+- 0 4492 1722"/>
                <a:gd name="T95" fmla="*/ 4492 h 3629"/>
                <a:gd name="T96" fmla="+- 0 14339 11147"/>
                <a:gd name="T97" fmla="*/ T96 w 3629"/>
                <a:gd name="T98" fmla="+- 0 4717 1722"/>
                <a:gd name="T99" fmla="*/ 4717 h 3629"/>
                <a:gd name="T100" fmla="+- 0 14142 11147"/>
                <a:gd name="T101" fmla="*/ T100 w 3629"/>
                <a:gd name="T102" fmla="+- 0 4914 1722"/>
                <a:gd name="T103" fmla="*/ 4914 h 3629"/>
                <a:gd name="T104" fmla="+- 0 13917 11147"/>
                <a:gd name="T105" fmla="*/ T104 w 3629"/>
                <a:gd name="T106" fmla="+- 0 5079 1722"/>
                <a:gd name="T107" fmla="*/ 5079 h 3629"/>
                <a:gd name="T108" fmla="+- 0 13667 11147"/>
                <a:gd name="T109" fmla="*/ T108 w 3629"/>
                <a:gd name="T110" fmla="+- 0 5208 1722"/>
                <a:gd name="T111" fmla="*/ 5208 h 3629"/>
                <a:gd name="T112" fmla="+- 0 13397 11147"/>
                <a:gd name="T113" fmla="*/ T112 w 3629"/>
                <a:gd name="T114" fmla="+- 0 5298 1722"/>
                <a:gd name="T115" fmla="*/ 5298 h 3629"/>
                <a:gd name="T116" fmla="+- 0 13110 11147"/>
                <a:gd name="T117" fmla="*/ T116 w 3629"/>
                <a:gd name="T118" fmla="+- 0 5345 1722"/>
                <a:gd name="T119" fmla="*/ 5345 h 3629"/>
                <a:gd name="T120" fmla="+- 0 12812 11147"/>
                <a:gd name="T121" fmla="*/ T120 w 3629"/>
                <a:gd name="T122" fmla="+- 0 5345 1722"/>
                <a:gd name="T123" fmla="*/ 5345 h 3629"/>
                <a:gd name="T124" fmla="+- 0 12525 11147"/>
                <a:gd name="T125" fmla="*/ T124 w 3629"/>
                <a:gd name="T126" fmla="+- 0 5298 1722"/>
                <a:gd name="T127" fmla="*/ 5298 h 3629"/>
                <a:gd name="T128" fmla="+- 0 12255 11147"/>
                <a:gd name="T129" fmla="*/ T128 w 3629"/>
                <a:gd name="T130" fmla="+- 0 5208 1722"/>
                <a:gd name="T131" fmla="*/ 5208 h 3629"/>
                <a:gd name="T132" fmla="+- 0 12005 11147"/>
                <a:gd name="T133" fmla="*/ T132 w 3629"/>
                <a:gd name="T134" fmla="+- 0 5079 1722"/>
                <a:gd name="T135" fmla="*/ 5079 h 3629"/>
                <a:gd name="T136" fmla="+- 0 11780 11147"/>
                <a:gd name="T137" fmla="*/ T136 w 3629"/>
                <a:gd name="T138" fmla="+- 0 4914 1722"/>
                <a:gd name="T139" fmla="*/ 4914 h 3629"/>
                <a:gd name="T140" fmla="+- 0 11584 11147"/>
                <a:gd name="T141" fmla="*/ T140 w 3629"/>
                <a:gd name="T142" fmla="+- 0 4717 1722"/>
                <a:gd name="T143" fmla="*/ 4717 h 3629"/>
                <a:gd name="T144" fmla="+- 0 11419 11147"/>
                <a:gd name="T145" fmla="*/ T144 w 3629"/>
                <a:gd name="T146" fmla="+- 0 4492 1722"/>
                <a:gd name="T147" fmla="*/ 4492 h 3629"/>
                <a:gd name="T148" fmla="+- 0 11289 11147"/>
                <a:gd name="T149" fmla="*/ T148 w 3629"/>
                <a:gd name="T150" fmla="+- 0 4243 1722"/>
                <a:gd name="T151" fmla="*/ 4243 h 3629"/>
                <a:gd name="T152" fmla="+- 0 11200 11147"/>
                <a:gd name="T153" fmla="*/ T152 w 3629"/>
                <a:gd name="T154" fmla="+- 0 3973 1722"/>
                <a:gd name="T155" fmla="*/ 3973 h 3629"/>
                <a:gd name="T156" fmla="+- 0 11153 11147"/>
                <a:gd name="T157" fmla="*/ T156 w 3629"/>
                <a:gd name="T158" fmla="+- 0 3685 1722"/>
                <a:gd name="T159" fmla="*/ 3685 h 362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3629" h="3629">
                  <a:moveTo>
                    <a:pt x="0" y="1815"/>
                  </a:moveTo>
                  <a:lnTo>
                    <a:pt x="6" y="1666"/>
                  </a:lnTo>
                  <a:lnTo>
                    <a:pt x="24" y="1520"/>
                  </a:lnTo>
                  <a:lnTo>
                    <a:pt x="53" y="1379"/>
                  </a:lnTo>
                  <a:lnTo>
                    <a:pt x="92" y="1241"/>
                  </a:lnTo>
                  <a:lnTo>
                    <a:pt x="142" y="1108"/>
                  </a:lnTo>
                  <a:lnTo>
                    <a:pt x="202" y="981"/>
                  </a:lnTo>
                  <a:lnTo>
                    <a:pt x="272" y="859"/>
                  </a:lnTo>
                  <a:lnTo>
                    <a:pt x="350" y="743"/>
                  </a:lnTo>
                  <a:lnTo>
                    <a:pt x="437" y="634"/>
                  </a:lnTo>
                  <a:lnTo>
                    <a:pt x="531" y="532"/>
                  </a:lnTo>
                  <a:lnTo>
                    <a:pt x="633" y="437"/>
                  </a:lnTo>
                  <a:lnTo>
                    <a:pt x="743" y="350"/>
                  </a:lnTo>
                  <a:lnTo>
                    <a:pt x="858" y="272"/>
                  </a:lnTo>
                  <a:lnTo>
                    <a:pt x="980" y="203"/>
                  </a:lnTo>
                  <a:lnTo>
                    <a:pt x="1108" y="143"/>
                  </a:lnTo>
                  <a:lnTo>
                    <a:pt x="1241" y="93"/>
                  </a:lnTo>
                  <a:lnTo>
                    <a:pt x="1378" y="53"/>
                  </a:lnTo>
                  <a:lnTo>
                    <a:pt x="1520" y="24"/>
                  </a:lnTo>
                  <a:lnTo>
                    <a:pt x="1665" y="6"/>
                  </a:lnTo>
                  <a:lnTo>
                    <a:pt x="1814" y="0"/>
                  </a:lnTo>
                  <a:lnTo>
                    <a:pt x="1963" y="6"/>
                  </a:lnTo>
                  <a:lnTo>
                    <a:pt x="2108" y="24"/>
                  </a:lnTo>
                  <a:lnTo>
                    <a:pt x="2250" y="53"/>
                  </a:lnTo>
                  <a:lnTo>
                    <a:pt x="2388" y="93"/>
                  </a:lnTo>
                  <a:lnTo>
                    <a:pt x="2520" y="143"/>
                  </a:lnTo>
                  <a:lnTo>
                    <a:pt x="2648" y="203"/>
                  </a:lnTo>
                  <a:lnTo>
                    <a:pt x="2770" y="272"/>
                  </a:lnTo>
                  <a:lnTo>
                    <a:pt x="2886" y="350"/>
                  </a:lnTo>
                  <a:lnTo>
                    <a:pt x="2995" y="437"/>
                  </a:lnTo>
                  <a:lnTo>
                    <a:pt x="3097" y="532"/>
                  </a:lnTo>
                  <a:lnTo>
                    <a:pt x="3192" y="634"/>
                  </a:lnTo>
                  <a:lnTo>
                    <a:pt x="3279" y="743"/>
                  </a:lnTo>
                  <a:lnTo>
                    <a:pt x="3357" y="859"/>
                  </a:lnTo>
                  <a:lnTo>
                    <a:pt x="3426" y="981"/>
                  </a:lnTo>
                  <a:lnTo>
                    <a:pt x="3486" y="1108"/>
                  </a:lnTo>
                  <a:lnTo>
                    <a:pt x="3536" y="1241"/>
                  </a:lnTo>
                  <a:lnTo>
                    <a:pt x="3576" y="1379"/>
                  </a:lnTo>
                  <a:lnTo>
                    <a:pt x="3605" y="1520"/>
                  </a:lnTo>
                  <a:lnTo>
                    <a:pt x="3623" y="1666"/>
                  </a:lnTo>
                  <a:lnTo>
                    <a:pt x="3629" y="1815"/>
                  </a:lnTo>
                  <a:lnTo>
                    <a:pt x="3623" y="1963"/>
                  </a:lnTo>
                  <a:lnTo>
                    <a:pt x="3605" y="2109"/>
                  </a:lnTo>
                  <a:lnTo>
                    <a:pt x="3576" y="2251"/>
                  </a:lnTo>
                  <a:lnTo>
                    <a:pt x="3536" y="2388"/>
                  </a:lnTo>
                  <a:lnTo>
                    <a:pt x="3486" y="2521"/>
                  </a:lnTo>
                  <a:lnTo>
                    <a:pt x="3426" y="2648"/>
                  </a:lnTo>
                  <a:lnTo>
                    <a:pt x="3357" y="2770"/>
                  </a:lnTo>
                  <a:lnTo>
                    <a:pt x="3279" y="2886"/>
                  </a:lnTo>
                  <a:lnTo>
                    <a:pt x="3192" y="2995"/>
                  </a:lnTo>
                  <a:lnTo>
                    <a:pt x="3097" y="3098"/>
                  </a:lnTo>
                  <a:lnTo>
                    <a:pt x="2995" y="3192"/>
                  </a:lnTo>
                  <a:lnTo>
                    <a:pt x="2886" y="3279"/>
                  </a:lnTo>
                  <a:lnTo>
                    <a:pt x="2770" y="3357"/>
                  </a:lnTo>
                  <a:lnTo>
                    <a:pt x="2648" y="3427"/>
                  </a:lnTo>
                  <a:lnTo>
                    <a:pt x="2520" y="3486"/>
                  </a:lnTo>
                  <a:lnTo>
                    <a:pt x="2388" y="3537"/>
                  </a:lnTo>
                  <a:lnTo>
                    <a:pt x="2250" y="3576"/>
                  </a:lnTo>
                  <a:lnTo>
                    <a:pt x="2108" y="3605"/>
                  </a:lnTo>
                  <a:lnTo>
                    <a:pt x="1963" y="3623"/>
                  </a:lnTo>
                  <a:lnTo>
                    <a:pt x="1814" y="3629"/>
                  </a:lnTo>
                  <a:lnTo>
                    <a:pt x="1665" y="3623"/>
                  </a:lnTo>
                  <a:lnTo>
                    <a:pt x="1520" y="3605"/>
                  </a:lnTo>
                  <a:lnTo>
                    <a:pt x="1378" y="3576"/>
                  </a:lnTo>
                  <a:lnTo>
                    <a:pt x="1241" y="3537"/>
                  </a:lnTo>
                  <a:lnTo>
                    <a:pt x="1108" y="3486"/>
                  </a:lnTo>
                  <a:lnTo>
                    <a:pt x="980" y="3427"/>
                  </a:lnTo>
                  <a:lnTo>
                    <a:pt x="858" y="3357"/>
                  </a:lnTo>
                  <a:lnTo>
                    <a:pt x="743" y="3279"/>
                  </a:lnTo>
                  <a:lnTo>
                    <a:pt x="633" y="3192"/>
                  </a:lnTo>
                  <a:lnTo>
                    <a:pt x="531" y="3098"/>
                  </a:lnTo>
                  <a:lnTo>
                    <a:pt x="437" y="2995"/>
                  </a:lnTo>
                  <a:lnTo>
                    <a:pt x="350" y="2886"/>
                  </a:lnTo>
                  <a:lnTo>
                    <a:pt x="272" y="2770"/>
                  </a:lnTo>
                  <a:lnTo>
                    <a:pt x="202" y="2648"/>
                  </a:lnTo>
                  <a:lnTo>
                    <a:pt x="142" y="2521"/>
                  </a:lnTo>
                  <a:lnTo>
                    <a:pt x="92" y="2388"/>
                  </a:lnTo>
                  <a:lnTo>
                    <a:pt x="53" y="2251"/>
                  </a:lnTo>
                  <a:lnTo>
                    <a:pt x="24" y="2109"/>
                  </a:lnTo>
                  <a:lnTo>
                    <a:pt x="6" y="1963"/>
                  </a:lnTo>
                  <a:lnTo>
                    <a:pt x="0" y="1815"/>
                  </a:lnTo>
                  <a:close/>
                </a:path>
              </a:pathLst>
            </a:custGeom>
            <a:solidFill>
              <a:schemeClr val="bg2">
                <a:alpha val="15000"/>
              </a:schemeClr>
            </a:solidFill>
            <a:ln w="25908">
              <a:solidFill>
                <a:srgbClr val="FFFFFF"/>
              </a:solid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20" name="Freeform 20"/>
            <p:cNvSpPr>
              <a:spLocks/>
            </p:cNvSpPr>
            <p:nvPr/>
          </p:nvSpPr>
          <p:spPr bwMode="gray">
            <a:xfrm>
              <a:off x="2842166" y="3006216"/>
              <a:ext cx="2012115" cy="2012263"/>
            </a:xfrm>
            <a:custGeom>
              <a:avLst/>
              <a:gdLst>
                <a:gd name="T0" fmla="+- 0 11635 9971"/>
                <a:gd name="T1" fmla="*/ T0 w 3626"/>
                <a:gd name="T2" fmla="+- 0 1049 1043"/>
                <a:gd name="T3" fmla="*/ 1049 h 3626"/>
                <a:gd name="T4" fmla="+- 0 11348 9971"/>
                <a:gd name="T5" fmla="*/ T4 w 3626"/>
                <a:gd name="T6" fmla="+- 0 1096 1043"/>
                <a:gd name="T7" fmla="*/ 1096 h 3626"/>
                <a:gd name="T8" fmla="+- 0 11078 9971"/>
                <a:gd name="T9" fmla="*/ T8 w 3626"/>
                <a:gd name="T10" fmla="+- 0 1186 1043"/>
                <a:gd name="T11" fmla="*/ 1186 h 3626"/>
                <a:gd name="T12" fmla="+- 0 10829 9971"/>
                <a:gd name="T13" fmla="*/ T12 w 3626"/>
                <a:gd name="T14" fmla="+- 0 1315 1043"/>
                <a:gd name="T15" fmla="*/ 1315 h 3626"/>
                <a:gd name="T16" fmla="+- 0 10604 9971"/>
                <a:gd name="T17" fmla="*/ T16 w 3626"/>
                <a:gd name="T18" fmla="+- 0 1480 1043"/>
                <a:gd name="T19" fmla="*/ 1480 h 3626"/>
                <a:gd name="T20" fmla="+- 0 10407 9971"/>
                <a:gd name="T21" fmla="*/ T20 w 3626"/>
                <a:gd name="T22" fmla="+- 0 1676 1043"/>
                <a:gd name="T23" fmla="*/ 1676 h 3626"/>
                <a:gd name="T24" fmla="+- 0 10242 9971"/>
                <a:gd name="T25" fmla="*/ T24 w 3626"/>
                <a:gd name="T26" fmla="+- 0 1901 1043"/>
                <a:gd name="T27" fmla="*/ 1901 h 3626"/>
                <a:gd name="T28" fmla="+- 0 10113 9971"/>
                <a:gd name="T29" fmla="*/ T28 w 3626"/>
                <a:gd name="T30" fmla="+- 0 2151 1043"/>
                <a:gd name="T31" fmla="*/ 2151 h 3626"/>
                <a:gd name="T32" fmla="+- 0 10023 9971"/>
                <a:gd name="T33" fmla="*/ T32 w 3626"/>
                <a:gd name="T34" fmla="+- 0 2421 1043"/>
                <a:gd name="T35" fmla="*/ 2421 h 3626"/>
                <a:gd name="T36" fmla="+- 0 9977 9971"/>
                <a:gd name="T37" fmla="*/ T36 w 3626"/>
                <a:gd name="T38" fmla="+- 0 2708 1043"/>
                <a:gd name="T39" fmla="*/ 2708 h 3626"/>
                <a:gd name="T40" fmla="+- 0 9977 9971"/>
                <a:gd name="T41" fmla="*/ T40 w 3626"/>
                <a:gd name="T42" fmla="+- 0 3005 1043"/>
                <a:gd name="T43" fmla="*/ 3005 h 3626"/>
                <a:gd name="T44" fmla="+- 0 10023 9971"/>
                <a:gd name="T45" fmla="*/ T44 w 3626"/>
                <a:gd name="T46" fmla="+- 0 3292 1043"/>
                <a:gd name="T47" fmla="*/ 3292 h 3626"/>
                <a:gd name="T48" fmla="+- 0 10113 9971"/>
                <a:gd name="T49" fmla="*/ T48 w 3626"/>
                <a:gd name="T50" fmla="+- 0 3562 1043"/>
                <a:gd name="T51" fmla="*/ 3562 h 3626"/>
                <a:gd name="T52" fmla="+- 0 10242 9971"/>
                <a:gd name="T53" fmla="*/ T52 w 3626"/>
                <a:gd name="T54" fmla="+- 0 3811 1043"/>
                <a:gd name="T55" fmla="*/ 3811 h 3626"/>
                <a:gd name="T56" fmla="+- 0 10407 9971"/>
                <a:gd name="T57" fmla="*/ T56 w 3626"/>
                <a:gd name="T58" fmla="+- 0 4036 1043"/>
                <a:gd name="T59" fmla="*/ 4036 h 3626"/>
                <a:gd name="T60" fmla="+- 0 10604 9971"/>
                <a:gd name="T61" fmla="*/ T60 w 3626"/>
                <a:gd name="T62" fmla="+- 0 4233 1043"/>
                <a:gd name="T63" fmla="*/ 4233 h 3626"/>
                <a:gd name="T64" fmla="+- 0 10829 9971"/>
                <a:gd name="T65" fmla="*/ T64 w 3626"/>
                <a:gd name="T66" fmla="+- 0 4398 1043"/>
                <a:gd name="T67" fmla="*/ 4398 h 3626"/>
                <a:gd name="T68" fmla="+- 0 11078 9971"/>
                <a:gd name="T69" fmla="*/ T68 w 3626"/>
                <a:gd name="T70" fmla="+- 0 4527 1043"/>
                <a:gd name="T71" fmla="*/ 4527 h 3626"/>
                <a:gd name="T72" fmla="+- 0 11348 9971"/>
                <a:gd name="T73" fmla="*/ T72 w 3626"/>
                <a:gd name="T74" fmla="+- 0 4617 1043"/>
                <a:gd name="T75" fmla="*/ 4617 h 3626"/>
                <a:gd name="T76" fmla="+- 0 11635 9971"/>
                <a:gd name="T77" fmla="*/ T76 w 3626"/>
                <a:gd name="T78" fmla="+- 0 4663 1043"/>
                <a:gd name="T79" fmla="*/ 4663 h 3626"/>
                <a:gd name="T80" fmla="+- 0 11933 9971"/>
                <a:gd name="T81" fmla="*/ T80 w 3626"/>
                <a:gd name="T82" fmla="+- 0 4663 1043"/>
                <a:gd name="T83" fmla="*/ 4663 h 3626"/>
                <a:gd name="T84" fmla="+- 0 12220 9971"/>
                <a:gd name="T85" fmla="*/ T84 w 3626"/>
                <a:gd name="T86" fmla="+- 0 4617 1043"/>
                <a:gd name="T87" fmla="*/ 4617 h 3626"/>
                <a:gd name="T88" fmla="+- 0 12490 9971"/>
                <a:gd name="T89" fmla="*/ T88 w 3626"/>
                <a:gd name="T90" fmla="+- 0 4527 1043"/>
                <a:gd name="T91" fmla="*/ 4527 h 3626"/>
                <a:gd name="T92" fmla="+- 0 12739 9971"/>
                <a:gd name="T93" fmla="*/ T92 w 3626"/>
                <a:gd name="T94" fmla="+- 0 4398 1043"/>
                <a:gd name="T95" fmla="*/ 4398 h 3626"/>
                <a:gd name="T96" fmla="+- 0 12964 9971"/>
                <a:gd name="T97" fmla="*/ T96 w 3626"/>
                <a:gd name="T98" fmla="+- 0 4233 1043"/>
                <a:gd name="T99" fmla="*/ 4233 h 3626"/>
                <a:gd name="T100" fmla="+- 0 13161 9971"/>
                <a:gd name="T101" fmla="*/ T100 w 3626"/>
                <a:gd name="T102" fmla="+- 0 4036 1043"/>
                <a:gd name="T103" fmla="*/ 4036 h 3626"/>
                <a:gd name="T104" fmla="+- 0 13326 9971"/>
                <a:gd name="T105" fmla="*/ T104 w 3626"/>
                <a:gd name="T106" fmla="+- 0 3811 1043"/>
                <a:gd name="T107" fmla="*/ 3811 h 3626"/>
                <a:gd name="T108" fmla="+- 0 13455 9971"/>
                <a:gd name="T109" fmla="*/ T108 w 3626"/>
                <a:gd name="T110" fmla="+- 0 3562 1043"/>
                <a:gd name="T111" fmla="*/ 3562 h 3626"/>
                <a:gd name="T112" fmla="+- 0 13545 9971"/>
                <a:gd name="T113" fmla="*/ T112 w 3626"/>
                <a:gd name="T114" fmla="+- 0 3292 1043"/>
                <a:gd name="T115" fmla="*/ 3292 h 3626"/>
                <a:gd name="T116" fmla="+- 0 13591 9971"/>
                <a:gd name="T117" fmla="*/ T116 w 3626"/>
                <a:gd name="T118" fmla="+- 0 3005 1043"/>
                <a:gd name="T119" fmla="*/ 3005 h 3626"/>
                <a:gd name="T120" fmla="+- 0 13591 9971"/>
                <a:gd name="T121" fmla="*/ T120 w 3626"/>
                <a:gd name="T122" fmla="+- 0 2708 1043"/>
                <a:gd name="T123" fmla="*/ 2708 h 3626"/>
                <a:gd name="T124" fmla="+- 0 13545 9971"/>
                <a:gd name="T125" fmla="*/ T124 w 3626"/>
                <a:gd name="T126" fmla="+- 0 2421 1043"/>
                <a:gd name="T127" fmla="*/ 2421 h 3626"/>
                <a:gd name="T128" fmla="+- 0 13455 9971"/>
                <a:gd name="T129" fmla="*/ T128 w 3626"/>
                <a:gd name="T130" fmla="+- 0 2151 1043"/>
                <a:gd name="T131" fmla="*/ 2151 h 3626"/>
                <a:gd name="T132" fmla="+- 0 13326 9971"/>
                <a:gd name="T133" fmla="*/ T132 w 3626"/>
                <a:gd name="T134" fmla="+- 0 1901 1043"/>
                <a:gd name="T135" fmla="*/ 1901 h 3626"/>
                <a:gd name="T136" fmla="+- 0 13161 9971"/>
                <a:gd name="T137" fmla="*/ T136 w 3626"/>
                <a:gd name="T138" fmla="+- 0 1676 1043"/>
                <a:gd name="T139" fmla="*/ 1676 h 3626"/>
                <a:gd name="T140" fmla="+- 0 12964 9971"/>
                <a:gd name="T141" fmla="*/ T140 w 3626"/>
                <a:gd name="T142" fmla="+- 0 1480 1043"/>
                <a:gd name="T143" fmla="*/ 1480 h 3626"/>
                <a:gd name="T144" fmla="+- 0 12739 9971"/>
                <a:gd name="T145" fmla="*/ T144 w 3626"/>
                <a:gd name="T146" fmla="+- 0 1315 1043"/>
                <a:gd name="T147" fmla="*/ 1315 h 3626"/>
                <a:gd name="T148" fmla="+- 0 12490 9971"/>
                <a:gd name="T149" fmla="*/ T148 w 3626"/>
                <a:gd name="T150" fmla="+- 0 1186 1043"/>
                <a:gd name="T151" fmla="*/ 1186 h 3626"/>
                <a:gd name="T152" fmla="+- 0 12220 9971"/>
                <a:gd name="T153" fmla="*/ T152 w 3626"/>
                <a:gd name="T154" fmla="+- 0 1096 1043"/>
                <a:gd name="T155" fmla="*/ 1096 h 3626"/>
                <a:gd name="T156" fmla="+- 0 11933 9971"/>
                <a:gd name="T157" fmla="*/ T156 w 3626"/>
                <a:gd name="T158" fmla="+- 0 1049 1043"/>
                <a:gd name="T159" fmla="*/ 1049 h 362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3626" h="3626">
                  <a:moveTo>
                    <a:pt x="1813" y="0"/>
                  </a:moveTo>
                  <a:lnTo>
                    <a:pt x="1664" y="6"/>
                  </a:lnTo>
                  <a:lnTo>
                    <a:pt x="1519" y="24"/>
                  </a:lnTo>
                  <a:lnTo>
                    <a:pt x="1377" y="53"/>
                  </a:lnTo>
                  <a:lnTo>
                    <a:pt x="1240" y="93"/>
                  </a:lnTo>
                  <a:lnTo>
                    <a:pt x="1107" y="143"/>
                  </a:lnTo>
                  <a:lnTo>
                    <a:pt x="980" y="202"/>
                  </a:lnTo>
                  <a:lnTo>
                    <a:pt x="858" y="272"/>
                  </a:lnTo>
                  <a:lnTo>
                    <a:pt x="742" y="350"/>
                  </a:lnTo>
                  <a:lnTo>
                    <a:pt x="633" y="437"/>
                  </a:lnTo>
                  <a:lnTo>
                    <a:pt x="531" y="531"/>
                  </a:lnTo>
                  <a:lnTo>
                    <a:pt x="436" y="633"/>
                  </a:lnTo>
                  <a:lnTo>
                    <a:pt x="350" y="742"/>
                  </a:lnTo>
                  <a:lnTo>
                    <a:pt x="271" y="858"/>
                  </a:lnTo>
                  <a:lnTo>
                    <a:pt x="202" y="980"/>
                  </a:lnTo>
                  <a:lnTo>
                    <a:pt x="142" y="1108"/>
                  </a:lnTo>
                  <a:lnTo>
                    <a:pt x="92" y="1240"/>
                  </a:lnTo>
                  <a:lnTo>
                    <a:pt x="52" y="1378"/>
                  </a:lnTo>
                  <a:lnTo>
                    <a:pt x="24" y="1519"/>
                  </a:lnTo>
                  <a:lnTo>
                    <a:pt x="6" y="1665"/>
                  </a:lnTo>
                  <a:lnTo>
                    <a:pt x="0" y="1813"/>
                  </a:lnTo>
                  <a:lnTo>
                    <a:pt x="6" y="1962"/>
                  </a:lnTo>
                  <a:lnTo>
                    <a:pt x="24" y="2107"/>
                  </a:lnTo>
                  <a:lnTo>
                    <a:pt x="52" y="2249"/>
                  </a:lnTo>
                  <a:lnTo>
                    <a:pt x="92" y="2386"/>
                  </a:lnTo>
                  <a:lnTo>
                    <a:pt x="142" y="2519"/>
                  </a:lnTo>
                  <a:lnTo>
                    <a:pt x="202" y="2647"/>
                  </a:lnTo>
                  <a:lnTo>
                    <a:pt x="271" y="2768"/>
                  </a:lnTo>
                  <a:lnTo>
                    <a:pt x="350" y="2884"/>
                  </a:lnTo>
                  <a:lnTo>
                    <a:pt x="436" y="2993"/>
                  </a:lnTo>
                  <a:lnTo>
                    <a:pt x="531" y="3095"/>
                  </a:lnTo>
                  <a:lnTo>
                    <a:pt x="633" y="3190"/>
                  </a:lnTo>
                  <a:lnTo>
                    <a:pt x="742" y="3277"/>
                  </a:lnTo>
                  <a:lnTo>
                    <a:pt x="858" y="3355"/>
                  </a:lnTo>
                  <a:lnTo>
                    <a:pt x="980" y="3424"/>
                  </a:lnTo>
                  <a:lnTo>
                    <a:pt x="1107" y="3484"/>
                  </a:lnTo>
                  <a:lnTo>
                    <a:pt x="1240" y="3534"/>
                  </a:lnTo>
                  <a:lnTo>
                    <a:pt x="1377" y="3574"/>
                  </a:lnTo>
                  <a:lnTo>
                    <a:pt x="1519" y="3603"/>
                  </a:lnTo>
                  <a:lnTo>
                    <a:pt x="1664" y="3620"/>
                  </a:lnTo>
                  <a:lnTo>
                    <a:pt x="1813" y="3626"/>
                  </a:lnTo>
                  <a:lnTo>
                    <a:pt x="1962" y="3620"/>
                  </a:lnTo>
                  <a:lnTo>
                    <a:pt x="2107" y="3603"/>
                  </a:lnTo>
                  <a:lnTo>
                    <a:pt x="2249" y="3574"/>
                  </a:lnTo>
                  <a:lnTo>
                    <a:pt x="2386" y="3534"/>
                  </a:lnTo>
                  <a:lnTo>
                    <a:pt x="2519" y="3484"/>
                  </a:lnTo>
                  <a:lnTo>
                    <a:pt x="2646" y="3424"/>
                  </a:lnTo>
                  <a:lnTo>
                    <a:pt x="2768" y="3355"/>
                  </a:lnTo>
                  <a:lnTo>
                    <a:pt x="2884" y="3277"/>
                  </a:lnTo>
                  <a:lnTo>
                    <a:pt x="2993" y="3190"/>
                  </a:lnTo>
                  <a:lnTo>
                    <a:pt x="3095" y="3095"/>
                  </a:lnTo>
                  <a:lnTo>
                    <a:pt x="3190" y="2993"/>
                  </a:lnTo>
                  <a:lnTo>
                    <a:pt x="3276" y="2884"/>
                  </a:lnTo>
                  <a:lnTo>
                    <a:pt x="3355" y="2768"/>
                  </a:lnTo>
                  <a:lnTo>
                    <a:pt x="3424" y="2647"/>
                  </a:lnTo>
                  <a:lnTo>
                    <a:pt x="3484" y="2519"/>
                  </a:lnTo>
                  <a:lnTo>
                    <a:pt x="3534" y="2386"/>
                  </a:lnTo>
                  <a:lnTo>
                    <a:pt x="3574" y="2249"/>
                  </a:lnTo>
                  <a:lnTo>
                    <a:pt x="3602" y="2107"/>
                  </a:lnTo>
                  <a:lnTo>
                    <a:pt x="3620" y="1962"/>
                  </a:lnTo>
                  <a:lnTo>
                    <a:pt x="3626" y="1813"/>
                  </a:lnTo>
                  <a:lnTo>
                    <a:pt x="3620" y="1665"/>
                  </a:lnTo>
                  <a:lnTo>
                    <a:pt x="3602" y="1519"/>
                  </a:lnTo>
                  <a:lnTo>
                    <a:pt x="3574" y="1378"/>
                  </a:lnTo>
                  <a:lnTo>
                    <a:pt x="3534" y="1240"/>
                  </a:lnTo>
                  <a:lnTo>
                    <a:pt x="3484" y="1108"/>
                  </a:lnTo>
                  <a:lnTo>
                    <a:pt x="3424" y="980"/>
                  </a:lnTo>
                  <a:lnTo>
                    <a:pt x="3355" y="858"/>
                  </a:lnTo>
                  <a:lnTo>
                    <a:pt x="3276" y="742"/>
                  </a:lnTo>
                  <a:lnTo>
                    <a:pt x="3190" y="633"/>
                  </a:lnTo>
                  <a:lnTo>
                    <a:pt x="3095" y="531"/>
                  </a:lnTo>
                  <a:lnTo>
                    <a:pt x="2993" y="437"/>
                  </a:lnTo>
                  <a:lnTo>
                    <a:pt x="2884" y="350"/>
                  </a:lnTo>
                  <a:lnTo>
                    <a:pt x="2768" y="272"/>
                  </a:lnTo>
                  <a:lnTo>
                    <a:pt x="2646" y="202"/>
                  </a:lnTo>
                  <a:lnTo>
                    <a:pt x="2519" y="143"/>
                  </a:lnTo>
                  <a:lnTo>
                    <a:pt x="2386" y="93"/>
                  </a:lnTo>
                  <a:lnTo>
                    <a:pt x="2249" y="53"/>
                  </a:lnTo>
                  <a:lnTo>
                    <a:pt x="2107" y="24"/>
                  </a:lnTo>
                  <a:lnTo>
                    <a:pt x="1962" y="6"/>
                  </a:lnTo>
                  <a:lnTo>
                    <a:pt x="1813" y="0"/>
                  </a:lnTo>
                </a:path>
              </a:pathLst>
            </a:custGeom>
            <a:solidFill>
              <a:srgbClr val="C00000">
                <a:alpha val="15000"/>
              </a:srgbClr>
            </a:solidFill>
            <a:ln>
              <a:noFill/>
            </a:ln>
          </p:spPr>
          <p:txBody>
            <a:bodyPr vert="horz" wrap="square" lIns="91440" tIns="45720" rIns="91440" bIns="45720" numCol="1" anchor="t" anchorCtr="0" compatLnSpc="1">
              <a:prstTxWarp prst="textNoShape">
                <a:avLst/>
              </a:prstTxWarp>
            </a:bodyPr>
            <a:lstStyle/>
            <a:p>
              <a:endParaRPr lang="en-IN"/>
            </a:p>
          </p:txBody>
        </p:sp>
        <p:sp>
          <p:nvSpPr>
            <p:cNvPr id="19" name="Freeform 22"/>
            <p:cNvSpPr>
              <a:spLocks/>
            </p:cNvSpPr>
            <p:nvPr/>
          </p:nvSpPr>
          <p:spPr bwMode="gray">
            <a:xfrm>
              <a:off x="2842166" y="3006216"/>
              <a:ext cx="2012115" cy="2012263"/>
            </a:xfrm>
            <a:custGeom>
              <a:avLst/>
              <a:gdLst>
                <a:gd name="T0" fmla="+- 0 9977 9971"/>
                <a:gd name="T1" fmla="*/ T0 w 3626"/>
                <a:gd name="T2" fmla="+- 0 2708 1043"/>
                <a:gd name="T3" fmla="*/ 2708 h 3626"/>
                <a:gd name="T4" fmla="+- 0 10023 9971"/>
                <a:gd name="T5" fmla="*/ T4 w 3626"/>
                <a:gd name="T6" fmla="+- 0 2421 1043"/>
                <a:gd name="T7" fmla="*/ 2421 h 3626"/>
                <a:gd name="T8" fmla="+- 0 10113 9971"/>
                <a:gd name="T9" fmla="*/ T8 w 3626"/>
                <a:gd name="T10" fmla="+- 0 2151 1043"/>
                <a:gd name="T11" fmla="*/ 2151 h 3626"/>
                <a:gd name="T12" fmla="+- 0 10242 9971"/>
                <a:gd name="T13" fmla="*/ T12 w 3626"/>
                <a:gd name="T14" fmla="+- 0 1901 1043"/>
                <a:gd name="T15" fmla="*/ 1901 h 3626"/>
                <a:gd name="T16" fmla="+- 0 10407 9971"/>
                <a:gd name="T17" fmla="*/ T16 w 3626"/>
                <a:gd name="T18" fmla="+- 0 1676 1043"/>
                <a:gd name="T19" fmla="*/ 1676 h 3626"/>
                <a:gd name="T20" fmla="+- 0 10604 9971"/>
                <a:gd name="T21" fmla="*/ T20 w 3626"/>
                <a:gd name="T22" fmla="+- 0 1480 1043"/>
                <a:gd name="T23" fmla="*/ 1480 h 3626"/>
                <a:gd name="T24" fmla="+- 0 10829 9971"/>
                <a:gd name="T25" fmla="*/ T24 w 3626"/>
                <a:gd name="T26" fmla="+- 0 1315 1043"/>
                <a:gd name="T27" fmla="*/ 1315 h 3626"/>
                <a:gd name="T28" fmla="+- 0 11078 9971"/>
                <a:gd name="T29" fmla="*/ T28 w 3626"/>
                <a:gd name="T30" fmla="+- 0 1186 1043"/>
                <a:gd name="T31" fmla="*/ 1186 h 3626"/>
                <a:gd name="T32" fmla="+- 0 11348 9971"/>
                <a:gd name="T33" fmla="*/ T32 w 3626"/>
                <a:gd name="T34" fmla="+- 0 1096 1043"/>
                <a:gd name="T35" fmla="*/ 1096 h 3626"/>
                <a:gd name="T36" fmla="+- 0 11635 9971"/>
                <a:gd name="T37" fmla="*/ T36 w 3626"/>
                <a:gd name="T38" fmla="+- 0 1049 1043"/>
                <a:gd name="T39" fmla="*/ 1049 h 3626"/>
                <a:gd name="T40" fmla="+- 0 11933 9971"/>
                <a:gd name="T41" fmla="*/ T40 w 3626"/>
                <a:gd name="T42" fmla="+- 0 1049 1043"/>
                <a:gd name="T43" fmla="*/ 1049 h 3626"/>
                <a:gd name="T44" fmla="+- 0 12220 9971"/>
                <a:gd name="T45" fmla="*/ T44 w 3626"/>
                <a:gd name="T46" fmla="+- 0 1096 1043"/>
                <a:gd name="T47" fmla="*/ 1096 h 3626"/>
                <a:gd name="T48" fmla="+- 0 12490 9971"/>
                <a:gd name="T49" fmla="*/ T48 w 3626"/>
                <a:gd name="T50" fmla="+- 0 1186 1043"/>
                <a:gd name="T51" fmla="*/ 1186 h 3626"/>
                <a:gd name="T52" fmla="+- 0 12739 9971"/>
                <a:gd name="T53" fmla="*/ T52 w 3626"/>
                <a:gd name="T54" fmla="+- 0 1315 1043"/>
                <a:gd name="T55" fmla="*/ 1315 h 3626"/>
                <a:gd name="T56" fmla="+- 0 12964 9971"/>
                <a:gd name="T57" fmla="*/ T56 w 3626"/>
                <a:gd name="T58" fmla="+- 0 1480 1043"/>
                <a:gd name="T59" fmla="*/ 1480 h 3626"/>
                <a:gd name="T60" fmla="+- 0 13161 9971"/>
                <a:gd name="T61" fmla="*/ T60 w 3626"/>
                <a:gd name="T62" fmla="+- 0 1676 1043"/>
                <a:gd name="T63" fmla="*/ 1676 h 3626"/>
                <a:gd name="T64" fmla="+- 0 13326 9971"/>
                <a:gd name="T65" fmla="*/ T64 w 3626"/>
                <a:gd name="T66" fmla="+- 0 1901 1043"/>
                <a:gd name="T67" fmla="*/ 1901 h 3626"/>
                <a:gd name="T68" fmla="+- 0 13455 9971"/>
                <a:gd name="T69" fmla="*/ T68 w 3626"/>
                <a:gd name="T70" fmla="+- 0 2151 1043"/>
                <a:gd name="T71" fmla="*/ 2151 h 3626"/>
                <a:gd name="T72" fmla="+- 0 13545 9971"/>
                <a:gd name="T73" fmla="*/ T72 w 3626"/>
                <a:gd name="T74" fmla="+- 0 2421 1043"/>
                <a:gd name="T75" fmla="*/ 2421 h 3626"/>
                <a:gd name="T76" fmla="+- 0 13591 9971"/>
                <a:gd name="T77" fmla="*/ T76 w 3626"/>
                <a:gd name="T78" fmla="+- 0 2708 1043"/>
                <a:gd name="T79" fmla="*/ 2708 h 3626"/>
                <a:gd name="T80" fmla="+- 0 13591 9971"/>
                <a:gd name="T81" fmla="*/ T80 w 3626"/>
                <a:gd name="T82" fmla="+- 0 3005 1043"/>
                <a:gd name="T83" fmla="*/ 3005 h 3626"/>
                <a:gd name="T84" fmla="+- 0 13545 9971"/>
                <a:gd name="T85" fmla="*/ T84 w 3626"/>
                <a:gd name="T86" fmla="+- 0 3292 1043"/>
                <a:gd name="T87" fmla="*/ 3292 h 3626"/>
                <a:gd name="T88" fmla="+- 0 13455 9971"/>
                <a:gd name="T89" fmla="*/ T88 w 3626"/>
                <a:gd name="T90" fmla="+- 0 3562 1043"/>
                <a:gd name="T91" fmla="*/ 3562 h 3626"/>
                <a:gd name="T92" fmla="+- 0 13326 9971"/>
                <a:gd name="T93" fmla="*/ T92 w 3626"/>
                <a:gd name="T94" fmla="+- 0 3811 1043"/>
                <a:gd name="T95" fmla="*/ 3811 h 3626"/>
                <a:gd name="T96" fmla="+- 0 13161 9971"/>
                <a:gd name="T97" fmla="*/ T96 w 3626"/>
                <a:gd name="T98" fmla="+- 0 4036 1043"/>
                <a:gd name="T99" fmla="*/ 4036 h 3626"/>
                <a:gd name="T100" fmla="+- 0 12964 9971"/>
                <a:gd name="T101" fmla="*/ T100 w 3626"/>
                <a:gd name="T102" fmla="+- 0 4233 1043"/>
                <a:gd name="T103" fmla="*/ 4233 h 3626"/>
                <a:gd name="T104" fmla="+- 0 12739 9971"/>
                <a:gd name="T105" fmla="*/ T104 w 3626"/>
                <a:gd name="T106" fmla="+- 0 4398 1043"/>
                <a:gd name="T107" fmla="*/ 4398 h 3626"/>
                <a:gd name="T108" fmla="+- 0 12490 9971"/>
                <a:gd name="T109" fmla="*/ T108 w 3626"/>
                <a:gd name="T110" fmla="+- 0 4527 1043"/>
                <a:gd name="T111" fmla="*/ 4527 h 3626"/>
                <a:gd name="T112" fmla="+- 0 12220 9971"/>
                <a:gd name="T113" fmla="*/ T112 w 3626"/>
                <a:gd name="T114" fmla="+- 0 4617 1043"/>
                <a:gd name="T115" fmla="*/ 4617 h 3626"/>
                <a:gd name="T116" fmla="+- 0 11933 9971"/>
                <a:gd name="T117" fmla="*/ T116 w 3626"/>
                <a:gd name="T118" fmla="+- 0 4663 1043"/>
                <a:gd name="T119" fmla="*/ 4663 h 3626"/>
                <a:gd name="T120" fmla="+- 0 11635 9971"/>
                <a:gd name="T121" fmla="*/ T120 w 3626"/>
                <a:gd name="T122" fmla="+- 0 4663 1043"/>
                <a:gd name="T123" fmla="*/ 4663 h 3626"/>
                <a:gd name="T124" fmla="+- 0 11348 9971"/>
                <a:gd name="T125" fmla="*/ T124 w 3626"/>
                <a:gd name="T126" fmla="+- 0 4617 1043"/>
                <a:gd name="T127" fmla="*/ 4617 h 3626"/>
                <a:gd name="T128" fmla="+- 0 11078 9971"/>
                <a:gd name="T129" fmla="*/ T128 w 3626"/>
                <a:gd name="T130" fmla="+- 0 4527 1043"/>
                <a:gd name="T131" fmla="*/ 4527 h 3626"/>
                <a:gd name="T132" fmla="+- 0 10829 9971"/>
                <a:gd name="T133" fmla="*/ T132 w 3626"/>
                <a:gd name="T134" fmla="+- 0 4398 1043"/>
                <a:gd name="T135" fmla="*/ 4398 h 3626"/>
                <a:gd name="T136" fmla="+- 0 10604 9971"/>
                <a:gd name="T137" fmla="*/ T136 w 3626"/>
                <a:gd name="T138" fmla="+- 0 4233 1043"/>
                <a:gd name="T139" fmla="*/ 4233 h 3626"/>
                <a:gd name="T140" fmla="+- 0 10407 9971"/>
                <a:gd name="T141" fmla="*/ T140 w 3626"/>
                <a:gd name="T142" fmla="+- 0 4036 1043"/>
                <a:gd name="T143" fmla="*/ 4036 h 3626"/>
                <a:gd name="T144" fmla="+- 0 10242 9971"/>
                <a:gd name="T145" fmla="*/ T144 w 3626"/>
                <a:gd name="T146" fmla="+- 0 3811 1043"/>
                <a:gd name="T147" fmla="*/ 3811 h 3626"/>
                <a:gd name="T148" fmla="+- 0 10113 9971"/>
                <a:gd name="T149" fmla="*/ T148 w 3626"/>
                <a:gd name="T150" fmla="+- 0 3562 1043"/>
                <a:gd name="T151" fmla="*/ 3562 h 3626"/>
                <a:gd name="T152" fmla="+- 0 10023 9971"/>
                <a:gd name="T153" fmla="*/ T152 w 3626"/>
                <a:gd name="T154" fmla="+- 0 3292 1043"/>
                <a:gd name="T155" fmla="*/ 3292 h 3626"/>
                <a:gd name="T156" fmla="+- 0 9977 9971"/>
                <a:gd name="T157" fmla="*/ T156 w 3626"/>
                <a:gd name="T158" fmla="+- 0 3005 1043"/>
                <a:gd name="T159" fmla="*/ 3005 h 362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3626" h="3626">
                  <a:moveTo>
                    <a:pt x="0" y="1813"/>
                  </a:moveTo>
                  <a:lnTo>
                    <a:pt x="6" y="1665"/>
                  </a:lnTo>
                  <a:lnTo>
                    <a:pt x="24" y="1519"/>
                  </a:lnTo>
                  <a:lnTo>
                    <a:pt x="52" y="1378"/>
                  </a:lnTo>
                  <a:lnTo>
                    <a:pt x="92" y="1240"/>
                  </a:lnTo>
                  <a:lnTo>
                    <a:pt x="142" y="1108"/>
                  </a:lnTo>
                  <a:lnTo>
                    <a:pt x="202" y="980"/>
                  </a:lnTo>
                  <a:lnTo>
                    <a:pt x="271" y="858"/>
                  </a:lnTo>
                  <a:lnTo>
                    <a:pt x="350" y="742"/>
                  </a:lnTo>
                  <a:lnTo>
                    <a:pt x="436" y="633"/>
                  </a:lnTo>
                  <a:lnTo>
                    <a:pt x="531" y="531"/>
                  </a:lnTo>
                  <a:lnTo>
                    <a:pt x="633" y="437"/>
                  </a:lnTo>
                  <a:lnTo>
                    <a:pt x="742" y="350"/>
                  </a:lnTo>
                  <a:lnTo>
                    <a:pt x="858" y="272"/>
                  </a:lnTo>
                  <a:lnTo>
                    <a:pt x="980" y="202"/>
                  </a:lnTo>
                  <a:lnTo>
                    <a:pt x="1107" y="143"/>
                  </a:lnTo>
                  <a:lnTo>
                    <a:pt x="1240" y="93"/>
                  </a:lnTo>
                  <a:lnTo>
                    <a:pt x="1377" y="53"/>
                  </a:lnTo>
                  <a:lnTo>
                    <a:pt x="1519" y="24"/>
                  </a:lnTo>
                  <a:lnTo>
                    <a:pt x="1664" y="6"/>
                  </a:lnTo>
                  <a:lnTo>
                    <a:pt x="1813" y="0"/>
                  </a:lnTo>
                  <a:lnTo>
                    <a:pt x="1962" y="6"/>
                  </a:lnTo>
                  <a:lnTo>
                    <a:pt x="2107" y="24"/>
                  </a:lnTo>
                  <a:lnTo>
                    <a:pt x="2249" y="53"/>
                  </a:lnTo>
                  <a:lnTo>
                    <a:pt x="2386" y="93"/>
                  </a:lnTo>
                  <a:lnTo>
                    <a:pt x="2519" y="143"/>
                  </a:lnTo>
                  <a:lnTo>
                    <a:pt x="2646" y="202"/>
                  </a:lnTo>
                  <a:lnTo>
                    <a:pt x="2768" y="272"/>
                  </a:lnTo>
                  <a:lnTo>
                    <a:pt x="2884" y="350"/>
                  </a:lnTo>
                  <a:lnTo>
                    <a:pt x="2993" y="437"/>
                  </a:lnTo>
                  <a:lnTo>
                    <a:pt x="3095" y="531"/>
                  </a:lnTo>
                  <a:lnTo>
                    <a:pt x="3190" y="633"/>
                  </a:lnTo>
                  <a:lnTo>
                    <a:pt x="3276" y="742"/>
                  </a:lnTo>
                  <a:lnTo>
                    <a:pt x="3355" y="858"/>
                  </a:lnTo>
                  <a:lnTo>
                    <a:pt x="3424" y="980"/>
                  </a:lnTo>
                  <a:lnTo>
                    <a:pt x="3484" y="1108"/>
                  </a:lnTo>
                  <a:lnTo>
                    <a:pt x="3534" y="1240"/>
                  </a:lnTo>
                  <a:lnTo>
                    <a:pt x="3574" y="1378"/>
                  </a:lnTo>
                  <a:lnTo>
                    <a:pt x="3602" y="1519"/>
                  </a:lnTo>
                  <a:lnTo>
                    <a:pt x="3620" y="1665"/>
                  </a:lnTo>
                  <a:lnTo>
                    <a:pt x="3626" y="1813"/>
                  </a:lnTo>
                  <a:lnTo>
                    <a:pt x="3620" y="1962"/>
                  </a:lnTo>
                  <a:lnTo>
                    <a:pt x="3602" y="2107"/>
                  </a:lnTo>
                  <a:lnTo>
                    <a:pt x="3574" y="2249"/>
                  </a:lnTo>
                  <a:lnTo>
                    <a:pt x="3534" y="2386"/>
                  </a:lnTo>
                  <a:lnTo>
                    <a:pt x="3484" y="2519"/>
                  </a:lnTo>
                  <a:lnTo>
                    <a:pt x="3424" y="2647"/>
                  </a:lnTo>
                  <a:lnTo>
                    <a:pt x="3355" y="2768"/>
                  </a:lnTo>
                  <a:lnTo>
                    <a:pt x="3276" y="2884"/>
                  </a:lnTo>
                  <a:lnTo>
                    <a:pt x="3190" y="2993"/>
                  </a:lnTo>
                  <a:lnTo>
                    <a:pt x="3095" y="3095"/>
                  </a:lnTo>
                  <a:lnTo>
                    <a:pt x="2993" y="3190"/>
                  </a:lnTo>
                  <a:lnTo>
                    <a:pt x="2884" y="3277"/>
                  </a:lnTo>
                  <a:lnTo>
                    <a:pt x="2768" y="3355"/>
                  </a:lnTo>
                  <a:lnTo>
                    <a:pt x="2646" y="3424"/>
                  </a:lnTo>
                  <a:lnTo>
                    <a:pt x="2519" y="3484"/>
                  </a:lnTo>
                  <a:lnTo>
                    <a:pt x="2386" y="3534"/>
                  </a:lnTo>
                  <a:lnTo>
                    <a:pt x="2249" y="3574"/>
                  </a:lnTo>
                  <a:lnTo>
                    <a:pt x="2107" y="3603"/>
                  </a:lnTo>
                  <a:lnTo>
                    <a:pt x="1962" y="3620"/>
                  </a:lnTo>
                  <a:lnTo>
                    <a:pt x="1813" y="3626"/>
                  </a:lnTo>
                  <a:lnTo>
                    <a:pt x="1664" y="3620"/>
                  </a:lnTo>
                  <a:lnTo>
                    <a:pt x="1519" y="3603"/>
                  </a:lnTo>
                  <a:lnTo>
                    <a:pt x="1377" y="3574"/>
                  </a:lnTo>
                  <a:lnTo>
                    <a:pt x="1240" y="3534"/>
                  </a:lnTo>
                  <a:lnTo>
                    <a:pt x="1107" y="3484"/>
                  </a:lnTo>
                  <a:lnTo>
                    <a:pt x="980" y="3424"/>
                  </a:lnTo>
                  <a:lnTo>
                    <a:pt x="858" y="3355"/>
                  </a:lnTo>
                  <a:lnTo>
                    <a:pt x="742" y="3277"/>
                  </a:lnTo>
                  <a:lnTo>
                    <a:pt x="633" y="3190"/>
                  </a:lnTo>
                  <a:lnTo>
                    <a:pt x="531" y="3095"/>
                  </a:lnTo>
                  <a:lnTo>
                    <a:pt x="436" y="2993"/>
                  </a:lnTo>
                  <a:lnTo>
                    <a:pt x="350" y="2884"/>
                  </a:lnTo>
                  <a:lnTo>
                    <a:pt x="271" y="2768"/>
                  </a:lnTo>
                  <a:lnTo>
                    <a:pt x="202" y="2647"/>
                  </a:lnTo>
                  <a:lnTo>
                    <a:pt x="142" y="2519"/>
                  </a:lnTo>
                  <a:lnTo>
                    <a:pt x="92" y="2386"/>
                  </a:lnTo>
                  <a:lnTo>
                    <a:pt x="52" y="2249"/>
                  </a:lnTo>
                  <a:lnTo>
                    <a:pt x="24" y="2107"/>
                  </a:lnTo>
                  <a:lnTo>
                    <a:pt x="6" y="1962"/>
                  </a:lnTo>
                  <a:lnTo>
                    <a:pt x="0" y="1813"/>
                  </a:lnTo>
                  <a:close/>
                </a:path>
              </a:pathLst>
            </a:custGeom>
            <a:solidFill>
              <a:schemeClr val="bg2">
                <a:alpha val="15000"/>
              </a:schemeClr>
            </a:solidFill>
            <a:ln w="25908">
              <a:solidFill>
                <a:srgbClr val="FFFFFF"/>
              </a:solidFill>
              <a:round/>
              <a:headEnd/>
              <a:tailEnd/>
            </a:ln>
          </p:spPr>
          <p:txBody>
            <a:bodyPr vert="horz" wrap="square" lIns="91440" tIns="45720" rIns="91440" bIns="45720" numCol="1" anchor="t" anchorCtr="0" compatLnSpc="1">
              <a:prstTxWarp prst="textNoShape">
                <a:avLst/>
              </a:prstTxWarp>
            </a:bodyPr>
            <a:lstStyle/>
            <a:p>
              <a:endParaRPr lang="en-IN"/>
            </a:p>
          </p:txBody>
        </p:sp>
        <p:sp>
          <p:nvSpPr>
            <p:cNvPr id="18" name="Freeform 24"/>
            <p:cNvSpPr>
              <a:spLocks/>
            </p:cNvSpPr>
            <p:nvPr/>
          </p:nvSpPr>
          <p:spPr bwMode="gray">
            <a:xfrm>
              <a:off x="2842166" y="2250924"/>
              <a:ext cx="2012115" cy="2012263"/>
            </a:xfrm>
            <a:custGeom>
              <a:avLst/>
              <a:gdLst>
                <a:gd name="T0" fmla="+- 0 11635 9971"/>
                <a:gd name="T1" fmla="*/ T0 w 3626"/>
                <a:gd name="T2" fmla="+- 0 -312 -318"/>
                <a:gd name="T3" fmla="*/ -312 h 3626"/>
                <a:gd name="T4" fmla="+- 0 11348 9971"/>
                <a:gd name="T5" fmla="*/ T4 w 3626"/>
                <a:gd name="T6" fmla="+- 0 -265 -318"/>
                <a:gd name="T7" fmla="*/ -265 h 3626"/>
                <a:gd name="T8" fmla="+- 0 11078 9971"/>
                <a:gd name="T9" fmla="*/ T8 w 3626"/>
                <a:gd name="T10" fmla="+- 0 -175 -318"/>
                <a:gd name="T11" fmla="*/ -175 h 3626"/>
                <a:gd name="T12" fmla="+- 0 10829 9971"/>
                <a:gd name="T13" fmla="*/ T12 w 3626"/>
                <a:gd name="T14" fmla="+- 0 -46 -318"/>
                <a:gd name="T15" fmla="*/ -46 h 3626"/>
                <a:gd name="T16" fmla="+- 0 10604 9971"/>
                <a:gd name="T17" fmla="*/ T16 w 3626"/>
                <a:gd name="T18" fmla="+- 0 119 -318"/>
                <a:gd name="T19" fmla="*/ 119 h 3626"/>
                <a:gd name="T20" fmla="+- 0 10407 9971"/>
                <a:gd name="T21" fmla="*/ T20 w 3626"/>
                <a:gd name="T22" fmla="+- 0 315 -318"/>
                <a:gd name="T23" fmla="*/ 315 h 3626"/>
                <a:gd name="T24" fmla="+- 0 10242 9971"/>
                <a:gd name="T25" fmla="*/ T24 w 3626"/>
                <a:gd name="T26" fmla="+- 0 540 -318"/>
                <a:gd name="T27" fmla="*/ 540 h 3626"/>
                <a:gd name="T28" fmla="+- 0 10113 9971"/>
                <a:gd name="T29" fmla="*/ T28 w 3626"/>
                <a:gd name="T30" fmla="+- 0 790 -318"/>
                <a:gd name="T31" fmla="*/ 790 h 3626"/>
                <a:gd name="T32" fmla="+- 0 10023 9971"/>
                <a:gd name="T33" fmla="*/ T32 w 3626"/>
                <a:gd name="T34" fmla="+- 0 1060 -318"/>
                <a:gd name="T35" fmla="*/ 1060 h 3626"/>
                <a:gd name="T36" fmla="+- 0 9977 9971"/>
                <a:gd name="T37" fmla="*/ T36 w 3626"/>
                <a:gd name="T38" fmla="+- 0 1347 -318"/>
                <a:gd name="T39" fmla="*/ 1347 h 3626"/>
                <a:gd name="T40" fmla="+- 0 9977 9971"/>
                <a:gd name="T41" fmla="*/ T40 w 3626"/>
                <a:gd name="T42" fmla="+- 0 1644 -318"/>
                <a:gd name="T43" fmla="*/ 1644 h 3626"/>
                <a:gd name="T44" fmla="+- 0 10023 9971"/>
                <a:gd name="T45" fmla="*/ T44 w 3626"/>
                <a:gd name="T46" fmla="+- 0 1931 -318"/>
                <a:gd name="T47" fmla="*/ 1931 h 3626"/>
                <a:gd name="T48" fmla="+- 0 10113 9971"/>
                <a:gd name="T49" fmla="*/ T48 w 3626"/>
                <a:gd name="T50" fmla="+- 0 2201 -318"/>
                <a:gd name="T51" fmla="*/ 2201 h 3626"/>
                <a:gd name="T52" fmla="+- 0 10242 9971"/>
                <a:gd name="T53" fmla="*/ T52 w 3626"/>
                <a:gd name="T54" fmla="+- 0 2451 -318"/>
                <a:gd name="T55" fmla="*/ 2451 h 3626"/>
                <a:gd name="T56" fmla="+- 0 10407 9971"/>
                <a:gd name="T57" fmla="*/ T56 w 3626"/>
                <a:gd name="T58" fmla="+- 0 2676 -318"/>
                <a:gd name="T59" fmla="*/ 2676 h 3626"/>
                <a:gd name="T60" fmla="+- 0 10604 9971"/>
                <a:gd name="T61" fmla="*/ T60 w 3626"/>
                <a:gd name="T62" fmla="+- 0 2872 -318"/>
                <a:gd name="T63" fmla="*/ 2872 h 3626"/>
                <a:gd name="T64" fmla="+- 0 10829 9971"/>
                <a:gd name="T65" fmla="*/ T64 w 3626"/>
                <a:gd name="T66" fmla="+- 0 3037 -318"/>
                <a:gd name="T67" fmla="*/ 3037 h 3626"/>
                <a:gd name="T68" fmla="+- 0 11078 9971"/>
                <a:gd name="T69" fmla="*/ T68 w 3626"/>
                <a:gd name="T70" fmla="+- 0 3166 -318"/>
                <a:gd name="T71" fmla="*/ 3166 h 3626"/>
                <a:gd name="T72" fmla="+- 0 11348 9971"/>
                <a:gd name="T73" fmla="*/ T72 w 3626"/>
                <a:gd name="T74" fmla="+- 0 3256 -318"/>
                <a:gd name="T75" fmla="*/ 3256 h 3626"/>
                <a:gd name="T76" fmla="+- 0 11635 9971"/>
                <a:gd name="T77" fmla="*/ T76 w 3626"/>
                <a:gd name="T78" fmla="+- 0 3303 -318"/>
                <a:gd name="T79" fmla="*/ 3303 h 3626"/>
                <a:gd name="T80" fmla="+- 0 11933 9971"/>
                <a:gd name="T81" fmla="*/ T80 w 3626"/>
                <a:gd name="T82" fmla="+- 0 3303 -318"/>
                <a:gd name="T83" fmla="*/ 3303 h 3626"/>
                <a:gd name="T84" fmla="+- 0 12220 9971"/>
                <a:gd name="T85" fmla="*/ T84 w 3626"/>
                <a:gd name="T86" fmla="+- 0 3256 -318"/>
                <a:gd name="T87" fmla="*/ 3256 h 3626"/>
                <a:gd name="T88" fmla="+- 0 12490 9971"/>
                <a:gd name="T89" fmla="*/ T88 w 3626"/>
                <a:gd name="T90" fmla="+- 0 3166 -318"/>
                <a:gd name="T91" fmla="*/ 3166 h 3626"/>
                <a:gd name="T92" fmla="+- 0 12739 9971"/>
                <a:gd name="T93" fmla="*/ T92 w 3626"/>
                <a:gd name="T94" fmla="+- 0 3037 -318"/>
                <a:gd name="T95" fmla="*/ 3037 h 3626"/>
                <a:gd name="T96" fmla="+- 0 12964 9971"/>
                <a:gd name="T97" fmla="*/ T96 w 3626"/>
                <a:gd name="T98" fmla="+- 0 2872 -318"/>
                <a:gd name="T99" fmla="*/ 2872 h 3626"/>
                <a:gd name="T100" fmla="+- 0 13161 9971"/>
                <a:gd name="T101" fmla="*/ T100 w 3626"/>
                <a:gd name="T102" fmla="+- 0 2676 -318"/>
                <a:gd name="T103" fmla="*/ 2676 h 3626"/>
                <a:gd name="T104" fmla="+- 0 13326 9971"/>
                <a:gd name="T105" fmla="*/ T104 w 3626"/>
                <a:gd name="T106" fmla="+- 0 2451 -318"/>
                <a:gd name="T107" fmla="*/ 2451 h 3626"/>
                <a:gd name="T108" fmla="+- 0 13455 9971"/>
                <a:gd name="T109" fmla="*/ T108 w 3626"/>
                <a:gd name="T110" fmla="+- 0 2201 -318"/>
                <a:gd name="T111" fmla="*/ 2201 h 3626"/>
                <a:gd name="T112" fmla="+- 0 13545 9971"/>
                <a:gd name="T113" fmla="*/ T112 w 3626"/>
                <a:gd name="T114" fmla="+- 0 1931 -318"/>
                <a:gd name="T115" fmla="*/ 1931 h 3626"/>
                <a:gd name="T116" fmla="+- 0 13591 9971"/>
                <a:gd name="T117" fmla="*/ T116 w 3626"/>
                <a:gd name="T118" fmla="+- 0 1644 -318"/>
                <a:gd name="T119" fmla="*/ 1644 h 3626"/>
                <a:gd name="T120" fmla="+- 0 13591 9971"/>
                <a:gd name="T121" fmla="*/ T120 w 3626"/>
                <a:gd name="T122" fmla="+- 0 1347 -318"/>
                <a:gd name="T123" fmla="*/ 1347 h 3626"/>
                <a:gd name="T124" fmla="+- 0 13545 9971"/>
                <a:gd name="T125" fmla="*/ T124 w 3626"/>
                <a:gd name="T126" fmla="+- 0 1060 -318"/>
                <a:gd name="T127" fmla="*/ 1060 h 3626"/>
                <a:gd name="T128" fmla="+- 0 13455 9971"/>
                <a:gd name="T129" fmla="*/ T128 w 3626"/>
                <a:gd name="T130" fmla="+- 0 790 -318"/>
                <a:gd name="T131" fmla="*/ 790 h 3626"/>
                <a:gd name="T132" fmla="+- 0 13326 9971"/>
                <a:gd name="T133" fmla="*/ T132 w 3626"/>
                <a:gd name="T134" fmla="+- 0 540 -318"/>
                <a:gd name="T135" fmla="*/ 540 h 3626"/>
                <a:gd name="T136" fmla="+- 0 13161 9971"/>
                <a:gd name="T137" fmla="*/ T136 w 3626"/>
                <a:gd name="T138" fmla="+- 0 315 -318"/>
                <a:gd name="T139" fmla="*/ 315 h 3626"/>
                <a:gd name="T140" fmla="+- 0 12964 9971"/>
                <a:gd name="T141" fmla="*/ T140 w 3626"/>
                <a:gd name="T142" fmla="+- 0 119 -318"/>
                <a:gd name="T143" fmla="*/ 119 h 3626"/>
                <a:gd name="T144" fmla="+- 0 12739 9971"/>
                <a:gd name="T145" fmla="*/ T144 w 3626"/>
                <a:gd name="T146" fmla="+- 0 -46 -318"/>
                <a:gd name="T147" fmla="*/ -46 h 3626"/>
                <a:gd name="T148" fmla="+- 0 12490 9971"/>
                <a:gd name="T149" fmla="*/ T148 w 3626"/>
                <a:gd name="T150" fmla="+- 0 -175 -318"/>
                <a:gd name="T151" fmla="*/ -175 h 3626"/>
                <a:gd name="T152" fmla="+- 0 12220 9971"/>
                <a:gd name="T153" fmla="*/ T152 w 3626"/>
                <a:gd name="T154" fmla="+- 0 -265 -318"/>
                <a:gd name="T155" fmla="*/ -265 h 3626"/>
                <a:gd name="T156" fmla="+- 0 11933 9971"/>
                <a:gd name="T157" fmla="*/ T156 w 3626"/>
                <a:gd name="T158" fmla="+- 0 -312 -318"/>
                <a:gd name="T159" fmla="*/ -312 h 362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3626" h="3626">
                  <a:moveTo>
                    <a:pt x="1813" y="0"/>
                  </a:moveTo>
                  <a:lnTo>
                    <a:pt x="1664" y="6"/>
                  </a:lnTo>
                  <a:lnTo>
                    <a:pt x="1519" y="24"/>
                  </a:lnTo>
                  <a:lnTo>
                    <a:pt x="1377" y="53"/>
                  </a:lnTo>
                  <a:lnTo>
                    <a:pt x="1240" y="93"/>
                  </a:lnTo>
                  <a:lnTo>
                    <a:pt x="1107" y="143"/>
                  </a:lnTo>
                  <a:lnTo>
                    <a:pt x="980" y="203"/>
                  </a:lnTo>
                  <a:lnTo>
                    <a:pt x="858" y="272"/>
                  </a:lnTo>
                  <a:lnTo>
                    <a:pt x="742" y="350"/>
                  </a:lnTo>
                  <a:lnTo>
                    <a:pt x="633" y="437"/>
                  </a:lnTo>
                  <a:lnTo>
                    <a:pt x="531" y="531"/>
                  </a:lnTo>
                  <a:lnTo>
                    <a:pt x="436" y="633"/>
                  </a:lnTo>
                  <a:lnTo>
                    <a:pt x="350" y="743"/>
                  </a:lnTo>
                  <a:lnTo>
                    <a:pt x="271" y="858"/>
                  </a:lnTo>
                  <a:lnTo>
                    <a:pt x="202" y="980"/>
                  </a:lnTo>
                  <a:lnTo>
                    <a:pt x="142" y="1108"/>
                  </a:lnTo>
                  <a:lnTo>
                    <a:pt x="92" y="1240"/>
                  </a:lnTo>
                  <a:lnTo>
                    <a:pt x="52" y="1378"/>
                  </a:lnTo>
                  <a:lnTo>
                    <a:pt x="24" y="1519"/>
                  </a:lnTo>
                  <a:lnTo>
                    <a:pt x="6" y="1665"/>
                  </a:lnTo>
                  <a:lnTo>
                    <a:pt x="0" y="1813"/>
                  </a:lnTo>
                  <a:lnTo>
                    <a:pt x="6" y="1962"/>
                  </a:lnTo>
                  <a:lnTo>
                    <a:pt x="24" y="2108"/>
                  </a:lnTo>
                  <a:lnTo>
                    <a:pt x="52" y="2249"/>
                  </a:lnTo>
                  <a:lnTo>
                    <a:pt x="92" y="2387"/>
                  </a:lnTo>
                  <a:lnTo>
                    <a:pt x="142" y="2519"/>
                  </a:lnTo>
                  <a:lnTo>
                    <a:pt x="202" y="2647"/>
                  </a:lnTo>
                  <a:lnTo>
                    <a:pt x="271" y="2769"/>
                  </a:lnTo>
                  <a:lnTo>
                    <a:pt x="350" y="2884"/>
                  </a:lnTo>
                  <a:lnTo>
                    <a:pt x="436" y="2994"/>
                  </a:lnTo>
                  <a:lnTo>
                    <a:pt x="531" y="3096"/>
                  </a:lnTo>
                  <a:lnTo>
                    <a:pt x="633" y="3190"/>
                  </a:lnTo>
                  <a:lnTo>
                    <a:pt x="742" y="3277"/>
                  </a:lnTo>
                  <a:lnTo>
                    <a:pt x="858" y="3355"/>
                  </a:lnTo>
                  <a:lnTo>
                    <a:pt x="980" y="3424"/>
                  </a:lnTo>
                  <a:lnTo>
                    <a:pt x="1107" y="3484"/>
                  </a:lnTo>
                  <a:lnTo>
                    <a:pt x="1240" y="3534"/>
                  </a:lnTo>
                  <a:lnTo>
                    <a:pt x="1377" y="3574"/>
                  </a:lnTo>
                  <a:lnTo>
                    <a:pt x="1519" y="3603"/>
                  </a:lnTo>
                  <a:lnTo>
                    <a:pt x="1664" y="3621"/>
                  </a:lnTo>
                  <a:lnTo>
                    <a:pt x="1813" y="3627"/>
                  </a:lnTo>
                  <a:lnTo>
                    <a:pt x="1962" y="3621"/>
                  </a:lnTo>
                  <a:lnTo>
                    <a:pt x="2107" y="3603"/>
                  </a:lnTo>
                  <a:lnTo>
                    <a:pt x="2249" y="3574"/>
                  </a:lnTo>
                  <a:lnTo>
                    <a:pt x="2386" y="3534"/>
                  </a:lnTo>
                  <a:lnTo>
                    <a:pt x="2519" y="3484"/>
                  </a:lnTo>
                  <a:lnTo>
                    <a:pt x="2646" y="3424"/>
                  </a:lnTo>
                  <a:lnTo>
                    <a:pt x="2768" y="3355"/>
                  </a:lnTo>
                  <a:lnTo>
                    <a:pt x="2884" y="3277"/>
                  </a:lnTo>
                  <a:lnTo>
                    <a:pt x="2993" y="3190"/>
                  </a:lnTo>
                  <a:lnTo>
                    <a:pt x="3095" y="3096"/>
                  </a:lnTo>
                  <a:lnTo>
                    <a:pt x="3190" y="2994"/>
                  </a:lnTo>
                  <a:lnTo>
                    <a:pt x="3276" y="2884"/>
                  </a:lnTo>
                  <a:lnTo>
                    <a:pt x="3355" y="2769"/>
                  </a:lnTo>
                  <a:lnTo>
                    <a:pt x="3424" y="2647"/>
                  </a:lnTo>
                  <a:lnTo>
                    <a:pt x="3484" y="2519"/>
                  </a:lnTo>
                  <a:lnTo>
                    <a:pt x="3534" y="2387"/>
                  </a:lnTo>
                  <a:lnTo>
                    <a:pt x="3574" y="2249"/>
                  </a:lnTo>
                  <a:lnTo>
                    <a:pt x="3602" y="2108"/>
                  </a:lnTo>
                  <a:lnTo>
                    <a:pt x="3620" y="1962"/>
                  </a:lnTo>
                  <a:lnTo>
                    <a:pt x="3626" y="1813"/>
                  </a:lnTo>
                  <a:lnTo>
                    <a:pt x="3620" y="1665"/>
                  </a:lnTo>
                  <a:lnTo>
                    <a:pt x="3602" y="1519"/>
                  </a:lnTo>
                  <a:lnTo>
                    <a:pt x="3574" y="1378"/>
                  </a:lnTo>
                  <a:lnTo>
                    <a:pt x="3534" y="1240"/>
                  </a:lnTo>
                  <a:lnTo>
                    <a:pt x="3484" y="1108"/>
                  </a:lnTo>
                  <a:lnTo>
                    <a:pt x="3424" y="980"/>
                  </a:lnTo>
                  <a:lnTo>
                    <a:pt x="3355" y="858"/>
                  </a:lnTo>
                  <a:lnTo>
                    <a:pt x="3276" y="743"/>
                  </a:lnTo>
                  <a:lnTo>
                    <a:pt x="3190" y="633"/>
                  </a:lnTo>
                  <a:lnTo>
                    <a:pt x="3095" y="531"/>
                  </a:lnTo>
                  <a:lnTo>
                    <a:pt x="2993" y="437"/>
                  </a:lnTo>
                  <a:lnTo>
                    <a:pt x="2884" y="350"/>
                  </a:lnTo>
                  <a:lnTo>
                    <a:pt x="2768" y="272"/>
                  </a:lnTo>
                  <a:lnTo>
                    <a:pt x="2646" y="203"/>
                  </a:lnTo>
                  <a:lnTo>
                    <a:pt x="2519" y="143"/>
                  </a:lnTo>
                  <a:lnTo>
                    <a:pt x="2386" y="93"/>
                  </a:lnTo>
                  <a:lnTo>
                    <a:pt x="2249" y="53"/>
                  </a:lnTo>
                  <a:lnTo>
                    <a:pt x="2107" y="24"/>
                  </a:lnTo>
                  <a:lnTo>
                    <a:pt x="1962" y="6"/>
                  </a:lnTo>
                  <a:lnTo>
                    <a:pt x="1813" y="0"/>
                  </a:lnTo>
                </a:path>
              </a:pathLst>
            </a:custGeom>
            <a:solidFill>
              <a:srgbClr val="C00000">
                <a:alpha val="15000"/>
              </a:srgbClr>
            </a:solidFill>
            <a:ln>
              <a:noFill/>
            </a:ln>
          </p:spPr>
          <p:txBody>
            <a:bodyPr vert="horz" wrap="square" lIns="91440" tIns="45720" rIns="91440" bIns="45720" numCol="1" anchor="t" anchorCtr="0" compatLnSpc="1">
              <a:prstTxWarp prst="textNoShape">
                <a:avLst/>
              </a:prstTxWarp>
            </a:bodyPr>
            <a:lstStyle/>
            <a:p>
              <a:endParaRPr lang="en-IN"/>
            </a:p>
          </p:txBody>
        </p:sp>
        <p:sp>
          <p:nvSpPr>
            <p:cNvPr id="17" name="Freeform 26"/>
            <p:cNvSpPr>
              <a:spLocks/>
            </p:cNvSpPr>
            <p:nvPr/>
          </p:nvSpPr>
          <p:spPr bwMode="gray">
            <a:xfrm>
              <a:off x="2842166" y="2250924"/>
              <a:ext cx="2012115" cy="2012263"/>
            </a:xfrm>
            <a:custGeom>
              <a:avLst/>
              <a:gdLst>
                <a:gd name="T0" fmla="+- 0 9977 9971"/>
                <a:gd name="T1" fmla="*/ T0 w 3626"/>
                <a:gd name="T2" fmla="+- 0 1347 -318"/>
                <a:gd name="T3" fmla="*/ 1347 h 3626"/>
                <a:gd name="T4" fmla="+- 0 10023 9971"/>
                <a:gd name="T5" fmla="*/ T4 w 3626"/>
                <a:gd name="T6" fmla="+- 0 1060 -318"/>
                <a:gd name="T7" fmla="*/ 1060 h 3626"/>
                <a:gd name="T8" fmla="+- 0 10113 9971"/>
                <a:gd name="T9" fmla="*/ T8 w 3626"/>
                <a:gd name="T10" fmla="+- 0 790 -318"/>
                <a:gd name="T11" fmla="*/ 790 h 3626"/>
                <a:gd name="T12" fmla="+- 0 10242 9971"/>
                <a:gd name="T13" fmla="*/ T12 w 3626"/>
                <a:gd name="T14" fmla="+- 0 540 -318"/>
                <a:gd name="T15" fmla="*/ 540 h 3626"/>
                <a:gd name="T16" fmla="+- 0 10407 9971"/>
                <a:gd name="T17" fmla="*/ T16 w 3626"/>
                <a:gd name="T18" fmla="+- 0 315 -318"/>
                <a:gd name="T19" fmla="*/ 315 h 3626"/>
                <a:gd name="T20" fmla="+- 0 10604 9971"/>
                <a:gd name="T21" fmla="*/ T20 w 3626"/>
                <a:gd name="T22" fmla="+- 0 119 -318"/>
                <a:gd name="T23" fmla="*/ 119 h 3626"/>
                <a:gd name="T24" fmla="+- 0 10829 9971"/>
                <a:gd name="T25" fmla="*/ T24 w 3626"/>
                <a:gd name="T26" fmla="+- 0 -46 -318"/>
                <a:gd name="T27" fmla="*/ -46 h 3626"/>
                <a:gd name="T28" fmla="+- 0 11078 9971"/>
                <a:gd name="T29" fmla="*/ T28 w 3626"/>
                <a:gd name="T30" fmla="+- 0 -175 -318"/>
                <a:gd name="T31" fmla="*/ -175 h 3626"/>
                <a:gd name="T32" fmla="+- 0 11348 9971"/>
                <a:gd name="T33" fmla="*/ T32 w 3626"/>
                <a:gd name="T34" fmla="+- 0 -265 -318"/>
                <a:gd name="T35" fmla="*/ -265 h 3626"/>
                <a:gd name="T36" fmla="+- 0 11635 9971"/>
                <a:gd name="T37" fmla="*/ T36 w 3626"/>
                <a:gd name="T38" fmla="+- 0 -312 -318"/>
                <a:gd name="T39" fmla="*/ -312 h 3626"/>
                <a:gd name="T40" fmla="+- 0 11933 9971"/>
                <a:gd name="T41" fmla="*/ T40 w 3626"/>
                <a:gd name="T42" fmla="+- 0 -312 -318"/>
                <a:gd name="T43" fmla="*/ -312 h 3626"/>
                <a:gd name="T44" fmla="+- 0 12220 9971"/>
                <a:gd name="T45" fmla="*/ T44 w 3626"/>
                <a:gd name="T46" fmla="+- 0 -265 -318"/>
                <a:gd name="T47" fmla="*/ -265 h 3626"/>
                <a:gd name="T48" fmla="+- 0 12490 9971"/>
                <a:gd name="T49" fmla="*/ T48 w 3626"/>
                <a:gd name="T50" fmla="+- 0 -175 -318"/>
                <a:gd name="T51" fmla="*/ -175 h 3626"/>
                <a:gd name="T52" fmla="+- 0 12739 9971"/>
                <a:gd name="T53" fmla="*/ T52 w 3626"/>
                <a:gd name="T54" fmla="+- 0 -46 -318"/>
                <a:gd name="T55" fmla="*/ -46 h 3626"/>
                <a:gd name="T56" fmla="+- 0 12964 9971"/>
                <a:gd name="T57" fmla="*/ T56 w 3626"/>
                <a:gd name="T58" fmla="+- 0 119 -318"/>
                <a:gd name="T59" fmla="*/ 119 h 3626"/>
                <a:gd name="T60" fmla="+- 0 13161 9971"/>
                <a:gd name="T61" fmla="*/ T60 w 3626"/>
                <a:gd name="T62" fmla="+- 0 315 -318"/>
                <a:gd name="T63" fmla="*/ 315 h 3626"/>
                <a:gd name="T64" fmla="+- 0 13326 9971"/>
                <a:gd name="T65" fmla="*/ T64 w 3626"/>
                <a:gd name="T66" fmla="+- 0 540 -318"/>
                <a:gd name="T67" fmla="*/ 540 h 3626"/>
                <a:gd name="T68" fmla="+- 0 13455 9971"/>
                <a:gd name="T69" fmla="*/ T68 w 3626"/>
                <a:gd name="T70" fmla="+- 0 790 -318"/>
                <a:gd name="T71" fmla="*/ 790 h 3626"/>
                <a:gd name="T72" fmla="+- 0 13545 9971"/>
                <a:gd name="T73" fmla="*/ T72 w 3626"/>
                <a:gd name="T74" fmla="+- 0 1060 -318"/>
                <a:gd name="T75" fmla="*/ 1060 h 3626"/>
                <a:gd name="T76" fmla="+- 0 13591 9971"/>
                <a:gd name="T77" fmla="*/ T76 w 3626"/>
                <a:gd name="T78" fmla="+- 0 1347 -318"/>
                <a:gd name="T79" fmla="*/ 1347 h 3626"/>
                <a:gd name="T80" fmla="+- 0 13591 9971"/>
                <a:gd name="T81" fmla="*/ T80 w 3626"/>
                <a:gd name="T82" fmla="+- 0 1644 -318"/>
                <a:gd name="T83" fmla="*/ 1644 h 3626"/>
                <a:gd name="T84" fmla="+- 0 13545 9971"/>
                <a:gd name="T85" fmla="*/ T84 w 3626"/>
                <a:gd name="T86" fmla="+- 0 1931 -318"/>
                <a:gd name="T87" fmla="*/ 1931 h 3626"/>
                <a:gd name="T88" fmla="+- 0 13455 9971"/>
                <a:gd name="T89" fmla="*/ T88 w 3626"/>
                <a:gd name="T90" fmla="+- 0 2201 -318"/>
                <a:gd name="T91" fmla="*/ 2201 h 3626"/>
                <a:gd name="T92" fmla="+- 0 13326 9971"/>
                <a:gd name="T93" fmla="*/ T92 w 3626"/>
                <a:gd name="T94" fmla="+- 0 2451 -318"/>
                <a:gd name="T95" fmla="*/ 2451 h 3626"/>
                <a:gd name="T96" fmla="+- 0 13161 9971"/>
                <a:gd name="T97" fmla="*/ T96 w 3626"/>
                <a:gd name="T98" fmla="+- 0 2676 -318"/>
                <a:gd name="T99" fmla="*/ 2676 h 3626"/>
                <a:gd name="T100" fmla="+- 0 12964 9971"/>
                <a:gd name="T101" fmla="*/ T100 w 3626"/>
                <a:gd name="T102" fmla="+- 0 2872 -318"/>
                <a:gd name="T103" fmla="*/ 2872 h 3626"/>
                <a:gd name="T104" fmla="+- 0 12739 9971"/>
                <a:gd name="T105" fmla="*/ T104 w 3626"/>
                <a:gd name="T106" fmla="+- 0 3037 -318"/>
                <a:gd name="T107" fmla="*/ 3037 h 3626"/>
                <a:gd name="T108" fmla="+- 0 12490 9971"/>
                <a:gd name="T109" fmla="*/ T108 w 3626"/>
                <a:gd name="T110" fmla="+- 0 3166 -318"/>
                <a:gd name="T111" fmla="*/ 3166 h 3626"/>
                <a:gd name="T112" fmla="+- 0 12220 9971"/>
                <a:gd name="T113" fmla="*/ T112 w 3626"/>
                <a:gd name="T114" fmla="+- 0 3256 -318"/>
                <a:gd name="T115" fmla="*/ 3256 h 3626"/>
                <a:gd name="T116" fmla="+- 0 11933 9971"/>
                <a:gd name="T117" fmla="*/ T116 w 3626"/>
                <a:gd name="T118" fmla="+- 0 3303 -318"/>
                <a:gd name="T119" fmla="*/ 3303 h 3626"/>
                <a:gd name="T120" fmla="+- 0 11635 9971"/>
                <a:gd name="T121" fmla="*/ T120 w 3626"/>
                <a:gd name="T122" fmla="+- 0 3303 -318"/>
                <a:gd name="T123" fmla="*/ 3303 h 3626"/>
                <a:gd name="T124" fmla="+- 0 11348 9971"/>
                <a:gd name="T125" fmla="*/ T124 w 3626"/>
                <a:gd name="T126" fmla="+- 0 3256 -318"/>
                <a:gd name="T127" fmla="*/ 3256 h 3626"/>
                <a:gd name="T128" fmla="+- 0 11078 9971"/>
                <a:gd name="T129" fmla="*/ T128 w 3626"/>
                <a:gd name="T130" fmla="+- 0 3166 -318"/>
                <a:gd name="T131" fmla="*/ 3166 h 3626"/>
                <a:gd name="T132" fmla="+- 0 10829 9971"/>
                <a:gd name="T133" fmla="*/ T132 w 3626"/>
                <a:gd name="T134" fmla="+- 0 3037 -318"/>
                <a:gd name="T135" fmla="*/ 3037 h 3626"/>
                <a:gd name="T136" fmla="+- 0 10604 9971"/>
                <a:gd name="T137" fmla="*/ T136 w 3626"/>
                <a:gd name="T138" fmla="+- 0 2872 -318"/>
                <a:gd name="T139" fmla="*/ 2872 h 3626"/>
                <a:gd name="T140" fmla="+- 0 10407 9971"/>
                <a:gd name="T141" fmla="*/ T140 w 3626"/>
                <a:gd name="T142" fmla="+- 0 2676 -318"/>
                <a:gd name="T143" fmla="*/ 2676 h 3626"/>
                <a:gd name="T144" fmla="+- 0 10242 9971"/>
                <a:gd name="T145" fmla="*/ T144 w 3626"/>
                <a:gd name="T146" fmla="+- 0 2451 -318"/>
                <a:gd name="T147" fmla="*/ 2451 h 3626"/>
                <a:gd name="T148" fmla="+- 0 10113 9971"/>
                <a:gd name="T149" fmla="*/ T148 w 3626"/>
                <a:gd name="T150" fmla="+- 0 2201 -318"/>
                <a:gd name="T151" fmla="*/ 2201 h 3626"/>
                <a:gd name="T152" fmla="+- 0 10023 9971"/>
                <a:gd name="T153" fmla="*/ T152 w 3626"/>
                <a:gd name="T154" fmla="+- 0 1931 -318"/>
                <a:gd name="T155" fmla="*/ 1931 h 3626"/>
                <a:gd name="T156" fmla="+- 0 9977 9971"/>
                <a:gd name="T157" fmla="*/ T156 w 3626"/>
                <a:gd name="T158" fmla="+- 0 1644 -318"/>
                <a:gd name="T159" fmla="*/ 1644 h 362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3626" h="3626">
                  <a:moveTo>
                    <a:pt x="0" y="1813"/>
                  </a:moveTo>
                  <a:lnTo>
                    <a:pt x="6" y="1665"/>
                  </a:lnTo>
                  <a:lnTo>
                    <a:pt x="24" y="1519"/>
                  </a:lnTo>
                  <a:lnTo>
                    <a:pt x="52" y="1378"/>
                  </a:lnTo>
                  <a:lnTo>
                    <a:pt x="92" y="1240"/>
                  </a:lnTo>
                  <a:lnTo>
                    <a:pt x="142" y="1108"/>
                  </a:lnTo>
                  <a:lnTo>
                    <a:pt x="202" y="980"/>
                  </a:lnTo>
                  <a:lnTo>
                    <a:pt x="271" y="858"/>
                  </a:lnTo>
                  <a:lnTo>
                    <a:pt x="350" y="743"/>
                  </a:lnTo>
                  <a:lnTo>
                    <a:pt x="436" y="633"/>
                  </a:lnTo>
                  <a:lnTo>
                    <a:pt x="531" y="531"/>
                  </a:lnTo>
                  <a:lnTo>
                    <a:pt x="633" y="437"/>
                  </a:lnTo>
                  <a:lnTo>
                    <a:pt x="742" y="350"/>
                  </a:lnTo>
                  <a:lnTo>
                    <a:pt x="858" y="272"/>
                  </a:lnTo>
                  <a:lnTo>
                    <a:pt x="980" y="203"/>
                  </a:lnTo>
                  <a:lnTo>
                    <a:pt x="1107" y="143"/>
                  </a:lnTo>
                  <a:lnTo>
                    <a:pt x="1240" y="93"/>
                  </a:lnTo>
                  <a:lnTo>
                    <a:pt x="1377" y="53"/>
                  </a:lnTo>
                  <a:lnTo>
                    <a:pt x="1519" y="24"/>
                  </a:lnTo>
                  <a:lnTo>
                    <a:pt x="1664" y="6"/>
                  </a:lnTo>
                  <a:lnTo>
                    <a:pt x="1813" y="0"/>
                  </a:lnTo>
                  <a:lnTo>
                    <a:pt x="1962" y="6"/>
                  </a:lnTo>
                  <a:lnTo>
                    <a:pt x="2107" y="24"/>
                  </a:lnTo>
                  <a:lnTo>
                    <a:pt x="2249" y="53"/>
                  </a:lnTo>
                  <a:lnTo>
                    <a:pt x="2386" y="93"/>
                  </a:lnTo>
                  <a:lnTo>
                    <a:pt x="2519" y="143"/>
                  </a:lnTo>
                  <a:lnTo>
                    <a:pt x="2646" y="203"/>
                  </a:lnTo>
                  <a:lnTo>
                    <a:pt x="2768" y="272"/>
                  </a:lnTo>
                  <a:lnTo>
                    <a:pt x="2884" y="350"/>
                  </a:lnTo>
                  <a:lnTo>
                    <a:pt x="2993" y="437"/>
                  </a:lnTo>
                  <a:lnTo>
                    <a:pt x="3095" y="531"/>
                  </a:lnTo>
                  <a:lnTo>
                    <a:pt x="3190" y="633"/>
                  </a:lnTo>
                  <a:lnTo>
                    <a:pt x="3276" y="743"/>
                  </a:lnTo>
                  <a:lnTo>
                    <a:pt x="3355" y="858"/>
                  </a:lnTo>
                  <a:lnTo>
                    <a:pt x="3424" y="980"/>
                  </a:lnTo>
                  <a:lnTo>
                    <a:pt x="3484" y="1108"/>
                  </a:lnTo>
                  <a:lnTo>
                    <a:pt x="3534" y="1240"/>
                  </a:lnTo>
                  <a:lnTo>
                    <a:pt x="3574" y="1378"/>
                  </a:lnTo>
                  <a:lnTo>
                    <a:pt x="3602" y="1519"/>
                  </a:lnTo>
                  <a:lnTo>
                    <a:pt x="3620" y="1665"/>
                  </a:lnTo>
                  <a:lnTo>
                    <a:pt x="3626" y="1813"/>
                  </a:lnTo>
                  <a:lnTo>
                    <a:pt x="3620" y="1962"/>
                  </a:lnTo>
                  <a:lnTo>
                    <a:pt x="3602" y="2108"/>
                  </a:lnTo>
                  <a:lnTo>
                    <a:pt x="3574" y="2249"/>
                  </a:lnTo>
                  <a:lnTo>
                    <a:pt x="3534" y="2387"/>
                  </a:lnTo>
                  <a:lnTo>
                    <a:pt x="3484" y="2519"/>
                  </a:lnTo>
                  <a:lnTo>
                    <a:pt x="3424" y="2647"/>
                  </a:lnTo>
                  <a:lnTo>
                    <a:pt x="3355" y="2769"/>
                  </a:lnTo>
                  <a:lnTo>
                    <a:pt x="3276" y="2884"/>
                  </a:lnTo>
                  <a:lnTo>
                    <a:pt x="3190" y="2994"/>
                  </a:lnTo>
                  <a:lnTo>
                    <a:pt x="3095" y="3096"/>
                  </a:lnTo>
                  <a:lnTo>
                    <a:pt x="2993" y="3190"/>
                  </a:lnTo>
                  <a:lnTo>
                    <a:pt x="2884" y="3277"/>
                  </a:lnTo>
                  <a:lnTo>
                    <a:pt x="2768" y="3355"/>
                  </a:lnTo>
                  <a:lnTo>
                    <a:pt x="2646" y="3424"/>
                  </a:lnTo>
                  <a:lnTo>
                    <a:pt x="2519" y="3484"/>
                  </a:lnTo>
                  <a:lnTo>
                    <a:pt x="2386" y="3534"/>
                  </a:lnTo>
                  <a:lnTo>
                    <a:pt x="2249" y="3574"/>
                  </a:lnTo>
                  <a:lnTo>
                    <a:pt x="2107" y="3603"/>
                  </a:lnTo>
                  <a:lnTo>
                    <a:pt x="1962" y="3621"/>
                  </a:lnTo>
                  <a:lnTo>
                    <a:pt x="1813" y="3627"/>
                  </a:lnTo>
                  <a:lnTo>
                    <a:pt x="1664" y="3621"/>
                  </a:lnTo>
                  <a:lnTo>
                    <a:pt x="1519" y="3603"/>
                  </a:lnTo>
                  <a:lnTo>
                    <a:pt x="1377" y="3574"/>
                  </a:lnTo>
                  <a:lnTo>
                    <a:pt x="1240" y="3534"/>
                  </a:lnTo>
                  <a:lnTo>
                    <a:pt x="1107" y="3484"/>
                  </a:lnTo>
                  <a:lnTo>
                    <a:pt x="980" y="3424"/>
                  </a:lnTo>
                  <a:lnTo>
                    <a:pt x="858" y="3355"/>
                  </a:lnTo>
                  <a:lnTo>
                    <a:pt x="742" y="3277"/>
                  </a:lnTo>
                  <a:lnTo>
                    <a:pt x="633" y="3190"/>
                  </a:lnTo>
                  <a:lnTo>
                    <a:pt x="531" y="3096"/>
                  </a:lnTo>
                  <a:lnTo>
                    <a:pt x="436" y="2994"/>
                  </a:lnTo>
                  <a:lnTo>
                    <a:pt x="350" y="2884"/>
                  </a:lnTo>
                  <a:lnTo>
                    <a:pt x="271" y="2769"/>
                  </a:lnTo>
                  <a:lnTo>
                    <a:pt x="202" y="2647"/>
                  </a:lnTo>
                  <a:lnTo>
                    <a:pt x="142" y="2519"/>
                  </a:lnTo>
                  <a:lnTo>
                    <a:pt x="92" y="2387"/>
                  </a:lnTo>
                  <a:lnTo>
                    <a:pt x="52" y="2249"/>
                  </a:lnTo>
                  <a:lnTo>
                    <a:pt x="24" y="2108"/>
                  </a:lnTo>
                  <a:lnTo>
                    <a:pt x="6" y="1962"/>
                  </a:lnTo>
                  <a:lnTo>
                    <a:pt x="0" y="1813"/>
                  </a:lnTo>
                  <a:close/>
                </a:path>
              </a:pathLst>
            </a:custGeom>
            <a:solidFill>
              <a:schemeClr val="bg2">
                <a:alpha val="15000"/>
              </a:schemeClr>
            </a:solidFill>
            <a:ln w="25908">
              <a:solidFill>
                <a:srgbClr val="FFFFFF"/>
              </a:solidFill>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29" name="Rounded Rectangle 28"/>
          <p:cNvSpPr/>
          <p:nvPr/>
        </p:nvSpPr>
        <p:spPr bwMode="gray">
          <a:xfrm>
            <a:off x="3440676" y="1026560"/>
            <a:ext cx="2168787" cy="578882"/>
          </a:xfrm>
          <a:prstGeom prst="roundRect">
            <a:avLst/>
          </a:prstGeom>
          <a:solidFill>
            <a:schemeClr val="bg2"/>
          </a:solidFill>
          <a:ln>
            <a:noFill/>
          </a:ln>
        </p:spPr>
        <p:txBody>
          <a:bodyPr wrap="none">
            <a:spAutoFit/>
          </a:bodyPr>
          <a:lstStyle/>
          <a:p>
            <a:r>
              <a:rPr lang="en-US" sz="1400" dirty="0">
                <a:solidFill>
                  <a:schemeClr val="bg1"/>
                </a:solidFill>
              </a:rPr>
              <a:t>Input data is distributed </a:t>
            </a:r>
            <a:r>
              <a:rPr lang="en-US" sz="1400" dirty="0" smtClean="0">
                <a:solidFill>
                  <a:schemeClr val="bg1"/>
                </a:solidFill>
              </a:rPr>
              <a:t>to</a:t>
            </a:r>
            <a:br>
              <a:rPr lang="en-US" sz="1400" dirty="0" smtClean="0">
                <a:solidFill>
                  <a:schemeClr val="bg1"/>
                </a:solidFill>
              </a:rPr>
            </a:br>
            <a:r>
              <a:rPr lang="en-US" sz="1400" dirty="0" smtClean="0">
                <a:solidFill>
                  <a:schemeClr val="bg1"/>
                </a:solidFill>
              </a:rPr>
              <a:t>nodes</a:t>
            </a:r>
            <a:endParaRPr lang="en-IN" sz="1400" dirty="0">
              <a:solidFill>
                <a:schemeClr val="bg1"/>
              </a:solidFill>
            </a:endParaRPr>
          </a:p>
        </p:txBody>
      </p:sp>
      <p:sp>
        <p:nvSpPr>
          <p:cNvPr id="30" name="Rounded Rectangle 29"/>
          <p:cNvSpPr/>
          <p:nvPr/>
        </p:nvSpPr>
        <p:spPr bwMode="gray">
          <a:xfrm>
            <a:off x="6616381" y="2583934"/>
            <a:ext cx="2194560" cy="548640"/>
          </a:xfrm>
          <a:prstGeom prst="roundRect">
            <a:avLst/>
          </a:prstGeom>
          <a:solidFill>
            <a:schemeClr val="bg2"/>
          </a:solidFill>
          <a:ln>
            <a:noFill/>
          </a:ln>
        </p:spPr>
        <p:txBody>
          <a:bodyPr wrap="square">
            <a:spAutoFit/>
          </a:bodyPr>
          <a:lstStyle/>
          <a:p>
            <a:r>
              <a:rPr lang="en-US" sz="1400">
                <a:solidFill>
                  <a:schemeClr val="bg1"/>
                </a:solidFill>
              </a:rPr>
              <a:t>Each map task </a:t>
            </a:r>
            <a:r>
              <a:rPr lang="en-US" sz="1400" smtClean="0">
                <a:solidFill>
                  <a:schemeClr val="bg1"/>
                </a:solidFill>
              </a:rPr>
              <a:t>works </a:t>
            </a:r>
            <a:r>
              <a:rPr lang="en-US" sz="1400">
                <a:solidFill>
                  <a:schemeClr val="bg1"/>
                </a:solidFill>
              </a:rPr>
              <a:t>on a “split” of data</a:t>
            </a:r>
            <a:endParaRPr lang="en-IN" sz="1400">
              <a:solidFill>
                <a:schemeClr val="bg1"/>
              </a:solidFill>
            </a:endParaRPr>
          </a:p>
        </p:txBody>
      </p:sp>
      <p:sp>
        <p:nvSpPr>
          <p:cNvPr id="31" name="Rounded Rectangle 30"/>
          <p:cNvSpPr/>
          <p:nvPr/>
        </p:nvSpPr>
        <p:spPr bwMode="gray">
          <a:xfrm>
            <a:off x="6616381" y="4044434"/>
            <a:ext cx="2194560" cy="548640"/>
          </a:xfrm>
          <a:prstGeom prst="roundRect">
            <a:avLst/>
          </a:prstGeom>
          <a:solidFill>
            <a:schemeClr val="bg2"/>
          </a:solidFill>
          <a:ln>
            <a:noFill/>
          </a:ln>
        </p:spPr>
        <p:txBody>
          <a:bodyPr wrap="square">
            <a:spAutoFit/>
          </a:bodyPr>
          <a:lstStyle/>
          <a:p>
            <a:r>
              <a:rPr lang="en-US" sz="1400">
                <a:solidFill>
                  <a:schemeClr val="bg1"/>
                </a:solidFill>
              </a:rPr>
              <a:t>Mapper outputs intermediate data</a:t>
            </a:r>
            <a:endParaRPr lang="en-IN" sz="1400">
              <a:solidFill>
                <a:schemeClr val="bg1"/>
              </a:solidFill>
            </a:endParaRPr>
          </a:p>
        </p:txBody>
      </p:sp>
      <p:sp>
        <p:nvSpPr>
          <p:cNvPr id="32" name="Rounded Rectangle 31"/>
          <p:cNvSpPr/>
          <p:nvPr/>
        </p:nvSpPr>
        <p:spPr bwMode="gray">
          <a:xfrm>
            <a:off x="3427789" y="5708134"/>
            <a:ext cx="2194560" cy="548640"/>
          </a:xfrm>
          <a:prstGeom prst="roundRect">
            <a:avLst/>
          </a:prstGeom>
          <a:solidFill>
            <a:schemeClr val="bg2"/>
          </a:solidFill>
          <a:ln>
            <a:noFill/>
          </a:ln>
        </p:spPr>
        <p:txBody>
          <a:bodyPr wrap="square">
            <a:spAutoFit/>
          </a:bodyPr>
          <a:lstStyle/>
          <a:p>
            <a:pPr algn="ctr"/>
            <a:r>
              <a:rPr lang="en-US" sz="1400" dirty="0">
                <a:solidFill>
                  <a:schemeClr val="bg1"/>
                </a:solidFill>
              </a:rPr>
              <a:t>Data exchange between nodes in a “shuffle” process</a:t>
            </a:r>
            <a:endParaRPr lang="en-IN" sz="1400" dirty="0">
              <a:solidFill>
                <a:schemeClr val="bg1"/>
              </a:solidFill>
            </a:endParaRPr>
          </a:p>
        </p:txBody>
      </p:sp>
      <p:sp>
        <p:nvSpPr>
          <p:cNvPr id="33" name="Rounded Rectangle 32"/>
          <p:cNvSpPr/>
          <p:nvPr/>
        </p:nvSpPr>
        <p:spPr bwMode="gray">
          <a:xfrm>
            <a:off x="565876" y="4476233"/>
            <a:ext cx="2190724" cy="817245"/>
          </a:xfrm>
          <a:prstGeom prst="roundRect">
            <a:avLst/>
          </a:prstGeom>
          <a:solidFill>
            <a:schemeClr val="bg2"/>
          </a:solidFill>
          <a:ln>
            <a:noFill/>
          </a:ln>
        </p:spPr>
        <p:txBody>
          <a:bodyPr wrap="square">
            <a:spAutoFit/>
          </a:bodyPr>
          <a:lstStyle/>
          <a:p>
            <a:pPr algn="ctr"/>
            <a:r>
              <a:rPr lang="en-US" sz="1400" dirty="0">
                <a:solidFill>
                  <a:schemeClr val="bg1"/>
                </a:solidFill>
              </a:rPr>
              <a:t>Intermediate data of the same key goes to the same reducer</a:t>
            </a:r>
            <a:endParaRPr lang="en-IN" sz="1400" dirty="0">
              <a:solidFill>
                <a:schemeClr val="bg1"/>
              </a:solidFill>
            </a:endParaRPr>
          </a:p>
        </p:txBody>
      </p:sp>
      <p:sp>
        <p:nvSpPr>
          <p:cNvPr id="34" name="Rounded Rectangle 33"/>
          <p:cNvSpPr/>
          <p:nvPr/>
        </p:nvSpPr>
        <p:spPr bwMode="gray">
          <a:xfrm>
            <a:off x="562040" y="2482334"/>
            <a:ext cx="2194560" cy="548640"/>
          </a:xfrm>
          <a:prstGeom prst="roundRect">
            <a:avLst/>
          </a:prstGeom>
          <a:solidFill>
            <a:schemeClr val="bg2"/>
          </a:solidFill>
          <a:ln>
            <a:noFill/>
          </a:ln>
        </p:spPr>
        <p:txBody>
          <a:bodyPr wrap="square">
            <a:spAutoFit/>
          </a:bodyPr>
          <a:lstStyle/>
          <a:p>
            <a:r>
              <a:rPr lang="en-US" sz="1400">
                <a:solidFill>
                  <a:schemeClr val="bg1"/>
                </a:solidFill>
              </a:rPr>
              <a:t>Reducer output is stored</a:t>
            </a:r>
            <a:endParaRPr lang="en-IN" sz="1400">
              <a:solidFill>
                <a:schemeClr val="bg1"/>
              </a:solidFill>
            </a:endParaRPr>
          </a:p>
        </p:txBody>
      </p:sp>
    </p:spTree>
    <p:extLst>
      <p:ext uri="{BB962C8B-B14F-4D97-AF65-F5344CB8AC3E}">
        <p14:creationId xmlns:p14="http://schemas.microsoft.com/office/powerpoint/2010/main" val="426829956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47346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gray"/>
        <p:txBody>
          <a:bodyPr/>
          <a:lstStyle/>
          <a:p>
            <a:r>
              <a:rPr lang="en-US" smtClean="0"/>
              <a:t>MAPPER</a:t>
            </a:r>
            <a:endParaRPr lang="en-IN"/>
          </a:p>
        </p:txBody>
      </p:sp>
      <p:sp>
        <p:nvSpPr>
          <p:cNvPr id="3" name="Rectangle 2"/>
          <p:cNvSpPr/>
          <p:nvPr>
            <p:custDataLst>
              <p:tags r:id="rId4"/>
            </p:custDataLst>
          </p:nvPr>
        </p:nvSpPr>
        <p:spPr bwMode="gray">
          <a:xfrm>
            <a:off x="566738" y="1906927"/>
            <a:ext cx="8154987" cy="2431435"/>
          </a:xfrm>
          <a:prstGeom prst="rect">
            <a:avLst/>
          </a:prstGeom>
        </p:spPr>
        <p:txBody>
          <a:bodyPr wrap="square" lIns="0" tIns="0" rIns="0" bIns="0">
            <a:spAutoFit/>
          </a:bodyPr>
          <a:lstStyle/>
          <a:p>
            <a:pPr marL="233363" indent="-233363">
              <a:spcBef>
                <a:spcPts val="1200"/>
              </a:spcBef>
              <a:buClr>
                <a:schemeClr val="bg2"/>
              </a:buClr>
              <a:buSzPct val="125000"/>
              <a:buFont typeface="Arial" panose="020B0604020202020204" pitchFamily="34" charset="0"/>
              <a:buChar char="›"/>
            </a:pPr>
            <a:r>
              <a:rPr lang="en-US" dirty="0"/>
              <a:t>Reads data from input data split as per the input format</a:t>
            </a:r>
            <a:endParaRPr lang="en-IN" dirty="0"/>
          </a:p>
          <a:p>
            <a:pPr marL="233363" indent="-233363">
              <a:spcBef>
                <a:spcPts val="1200"/>
              </a:spcBef>
              <a:buClr>
                <a:schemeClr val="bg2"/>
              </a:buClr>
              <a:buSzPct val="125000"/>
              <a:buFont typeface="Arial" panose="020B0604020202020204" pitchFamily="34" charset="0"/>
              <a:buChar char="›"/>
            </a:pPr>
            <a:r>
              <a:rPr lang="en-US" dirty="0" smtClean="0"/>
              <a:t>Denoted </a:t>
            </a:r>
            <a:r>
              <a:rPr lang="en-US" dirty="0"/>
              <a:t>as Mapper&lt;kl, </a:t>
            </a:r>
            <a:r>
              <a:rPr lang="en-US" dirty="0" err="1"/>
              <a:t>vl</a:t>
            </a:r>
            <a:r>
              <a:rPr lang="en-US" dirty="0"/>
              <a:t>, k2, v2</a:t>
            </a:r>
            <a:r>
              <a:rPr lang="en-US" dirty="0" smtClean="0"/>
              <a:t>&gt;</a:t>
            </a:r>
            <a:endParaRPr lang="en-IN" dirty="0"/>
          </a:p>
          <a:p>
            <a:pPr marL="233363" indent="-233363">
              <a:spcBef>
                <a:spcPts val="1200"/>
              </a:spcBef>
              <a:buClr>
                <a:schemeClr val="bg2"/>
              </a:buClr>
              <a:buSzPct val="125000"/>
              <a:buFont typeface="Arial" panose="020B0604020202020204" pitchFamily="34" charset="0"/>
              <a:buChar char="›"/>
            </a:pPr>
            <a:r>
              <a:rPr lang="en-US" dirty="0"/>
              <a:t>kl, </a:t>
            </a:r>
            <a:r>
              <a:rPr lang="en-US" dirty="0" err="1"/>
              <a:t>vl</a:t>
            </a:r>
            <a:r>
              <a:rPr lang="en-US" dirty="0"/>
              <a:t> are key value pair of input </a:t>
            </a:r>
            <a:r>
              <a:rPr lang="en-US" dirty="0" smtClean="0"/>
              <a:t>data</a:t>
            </a:r>
            <a:r>
              <a:rPr lang="en-US" dirty="0"/>
              <a:t> </a:t>
            </a:r>
            <a:endParaRPr lang="en-IN" dirty="0"/>
          </a:p>
          <a:p>
            <a:pPr marL="233363" indent="-233363">
              <a:spcBef>
                <a:spcPts val="1200"/>
              </a:spcBef>
              <a:buClr>
                <a:schemeClr val="bg2"/>
              </a:buClr>
              <a:buSzPct val="125000"/>
              <a:buFont typeface="Arial" panose="020B0604020202020204" pitchFamily="34" charset="0"/>
              <a:buChar char="›"/>
            </a:pPr>
            <a:r>
              <a:rPr lang="en-US" dirty="0"/>
              <a:t>K2, v2 are key value pair of output </a:t>
            </a:r>
            <a:r>
              <a:rPr lang="en-US" dirty="0" smtClean="0"/>
              <a:t>data</a:t>
            </a:r>
            <a:r>
              <a:rPr lang="en-US" dirty="0"/>
              <a:t> </a:t>
            </a:r>
            <a:endParaRPr lang="en-IN" dirty="0"/>
          </a:p>
          <a:p>
            <a:pPr marL="233363" indent="-233363">
              <a:spcBef>
                <a:spcPts val="1200"/>
              </a:spcBef>
              <a:buClr>
                <a:schemeClr val="bg2"/>
              </a:buClr>
              <a:buSzPct val="125000"/>
              <a:buFont typeface="Arial" panose="020B0604020202020204" pitchFamily="34" charset="0"/>
              <a:buChar char="›"/>
            </a:pPr>
            <a:r>
              <a:rPr lang="en-US" dirty="0"/>
              <a:t>Hadoop will create k2 and List(v2) And give the data to Reducer.</a:t>
            </a:r>
            <a:endParaRPr lang="en-IN" dirty="0"/>
          </a:p>
          <a:p>
            <a:pPr marL="233363" indent="-233363">
              <a:spcBef>
                <a:spcPts val="1200"/>
              </a:spcBef>
              <a:buClr>
                <a:schemeClr val="bg2"/>
              </a:buClr>
              <a:buSzPct val="125000"/>
              <a:buFont typeface="Arial" panose="020B0604020202020204" pitchFamily="34" charset="0"/>
              <a:buChar char="›"/>
            </a:pPr>
            <a:r>
              <a:rPr lang="en-US" dirty="0"/>
              <a:t>Package : </a:t>
            </a:r>
            <a:r>
              <a:rPr lang="en-US" dirty="0" err="1"/>
              <a:t>org.apache.hadoop.mapreduce</a:t>
            </a:r>
            <a:endParaRPr lang="en-IN" dirty="0"/>
          </a:p>
        </p:txBody>
      </p:sp>
    </p:spTree>
    <p:extLst>
      <p:ext uri="{BB962C8B-B14F-4D97-AF65-F5344CB8AC3E}">
        <p14:creationId xmlns:p14="http://schemas.microsoft.com/office/powerpoint/2010/main" val="848146665"/>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9013850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gray"/>
        <p:txBody>
          <a:bodyPr/>
          <a:lstStyle/>
          <a:p>
            <a:r>
              <a:rPr lang="en-US" smtClean="0"/>
              <a:t>MAP REDUCE</a:t>
            </a:r>
            <a:endParaRPr lang="en-IN"/>
          </a:p>
        </p:txBody>
      </p:sp>
      <p:sp>
        <p:nvSpPr>
          <p:cNvPr id="9" name="Freeform 5"/>
          <p:cNvSpPr>
            <a:spLocks/>
          </p:cNvSpPr>
          <p:nvPr>
            <p:custDataLst>
              <p:tags r:id="rId4"/>
            </p:custDataLst>
          </p:nvPr>
        </p:nvSpPr>
        <p:spPr bwMode="gray">
          <a:xfrm>
            <a:off x="3484052" y="2571443"/>
            <a:ext cx="2636904" cy="563586"/>
          </a:xfrm>
          <a:prstGeom prst="roundRect">
            <a:avLst/>
          </a:pr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a:solidFill>
                  <a:schemeClr val="bg1"/>
                </a:solidFill>
              </a:rPr>
              <a:t>MapReduce</a:t>
            </a:r>
            <a:endParaRPr lang="en-IN">
              <a:solidFill>
                <a:schemeClr val="bg1"/>
              </a:solidFill>
            </a:endParaRPr>
          </a:p>
        </p:txBody>
      </p:sp>
      <p:sp>
        <p:nvSpPr>
          <p:cNvPr id="8" name="Rounded Rectangle 7"/>
          <p:cNvSpPr>
            <a:spLocks/>
          </p:cNvSpPr>
          <p:nvPr>
            <p:custDataLst>
              <p:tags r:id="rId5"/>
            </p:custDataLst>
          </p:nvPr>
        </p:nvSpPr>
        <p:spPr bwMode="gray">
          <a:xfrm>
            <a:off x="2195794" y="4086984"/>
            <a:ext cx="1690839" cy="523330"/>
          </a:xfrm>
          <a:prstGeom prst="roundRect">
            <a:avLst/>
          </a:prstGeom>
          <a:solidFill>
            <a:srgbClr val="779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a:solidFill>
                  <a:schemeClr val="bg1"/>
                </a:solidFill>
              </a:rPr>
              <a:t>Combiners</a:t>
            </a:r>
            <a:endParaRPr lang="en-IN">
              <a:solidFill>
                <a:schemeClr val="bg1"/>
              </a:solidFill>
            </a:endParaRPr>
          </a:p>
        </p:txBody>
      </p:sp>
      <p:sp>
        <p:nvSpPr>
          <p:cNvPr id="7" name="Freeform 9"/>
          <p:cNvSpPr>
            <a:spLocks/>
          </p:cNvSpPr>
          <p:nvPr>
            <p:custDataLst>
              <p:tags r:id="rId6"/>
            </p:custDataLst>
          </p:nvPr>
        </p:nvSpPr>
        <p:spPr bwMode="gray">
          <a:xfrm>
            <a:off x="5698246" y="4086984"/>
            <a:ext cx="1690839" cy="523330"/>
          </a:xfrm>
          <a:prstGeom prst="roundRect">
            <a:avLst/>
          </a:prstGeom>
          <a:solidFill>
            <a:srgbClr val="CC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a:solidFill>
                  <a:schemeClr val="bg1"/>
                </a:solidFill>
              </a:rPr>
              <a:t>Practitioners</a:t>
            </a:r>
            <a:endParaRPr lang="en-IN">
              <a:solidFill>
                <a:schemeClr val="bg1"/>
              </a:solidFill>
            </a:endParaRPr>
          </a:p>
        </p:txBody>
      </p:sp>
      <p:cxnSp>
        <p:nvCxnSpPr>
          <p:cNvPr id="11" name="Straight Connector 10"/>
          <p:cNvCxnSpPr>
            <a:stCxn id="8" idx="0"/>
            <a:endCxn id="9" idx="2"/>
          </p:cNvCxnSpPr>
          <p:nvPr>
            <p:custDataLst>
              <p:tags r:id="rId7"/>
            </p:custDataLst>
          </p:nvPr>
        </p:nvCxnSpPr>
        <p:spPr bwMode="gray">
          <a:xfrm flipV="1">
            <a:off x="3041214" y="3135029"/>
            <a:ext cx="1761290" cy="9519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stCxn id="7" idx="0"/>
            <a:endCxn id="9" idx="2"/>
          </p:cNvCxnSpPr>
          <p:nvPr>
            <p:custDataLst>
              <p:tags r:id="rId8"/>
            </p:custDataLst>
          </p:nvPr>
        </p:nvCxnSpPr>
        <p:spPr bwMode="gray">
          <a:xfrm flipH="1" flipV="1">
            <a:off x="4802504" y="3135029"/>
            <a:ext cx="1741162" cy="9519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Rounded Rectangle 13"/>
          <p:cNvSpPr/>
          <p:nvPr>
            <p:custDataLst>
              <p:tags r:id="rId9"/>
            </p:custDataLst>
          </p:nvPr>
        </p:nvSpPr>
        <p:spPr bwMode="gray">
          <a:xfrm>
            <a:off x="2227580" y="1689100"/>
            <a:ext cx="5285740" cy="680720"/>
          </a:xfrm>
          <a:prstGeom prst="roundRect">
            <a:avLst/>
          </a:prstGeom>
          <a:solidFill>
            <a:schemeClr val="bg1">
              <a:lumMod val="95000"/>
            </a:schemeClr>
          </a:solidFill>
          <a:ln w="9525">
            <a:solidFill>
              <a:schemeClr val="bg1">
                <a:lumMod val="65000"/>
              </a:schemeClr>
            </a:solidFill>
          </a:ln>
          <a:effectLst>
            <a:outerShdw blurRad="2032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smtClean="0">
                <a:solidFill>
                  <a:schemeClr val="tx1"/>
                </a:solidFill>
              </a:rPr>
              <a:t>Complete view of MapReduce, illustrating combiners and partitioners in addition to Mappers and Reducers</a:t>
            </a:r>
            <a:endParaRPr lang="en-IN" sz="1400">
              <a:solidFill>
                <a:schemeClr val="tx1"/>
              </a:solidFill>
            </a:endParaRPr>
          </a:p>
        </p:txBody>
      </p:sp>
      <p:sp>
        <p:nvSpPr>
          <p:cNvPr id="17" name="Rounded Rectangle 16"/>
          <p:cNvSpPr/>
          <p:nvPr/>
        </p:nvSpPr>
        <p:spPr bwMode="gray">
          <a:xfrm>
            <a:off x="1722756" y="4854944"/>
            <a:ext cx="2563494" cy="564781"/>
          </a:xfrm>
          <a:prstGeom prst="roundRect">
            <a:avLst/>
          </a:prstGeom>
          <a:solidFill>
            <a:schemeClr val="bg1">
              <a:lumMod val="95000"/>
            </a:schemeClr>
          </a:solidFill>
          <a:ln w="9525">
            <a:solidFill>
              <a:schemeClr val="bg1">
                <a:lumMod val="65000"/>
              </a:schemeClr>
            </a:solidFill>
          </a:ln>
          <a:effectLst>
            <a:outerShdw blurRad="2032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smtClean="0">
                <a:solidFill>
                  <a:schemeClr val="tx1"/>
                </a:solidFill>
              </a:rPr>
              <a:t>Combiners can be viewed as ‘mini-reducers’ in the Map phase.</a:t>
            </a:r>
            <a:endParaRPr lang="en-IN" sz="1200">
              <a:solidFill>
                <a:schemeClr val="tx1"/>
              </a:solidFill>
            </a:endParaRPr>
          </a:p>
        </p:txBody>
      </p:sp>
      <p:sp>
        <p:nvSpPr>
          <p:cNvPr id="19" name="Rounded Rectangle 18"/>
          <p:cNvSpPr/>
          <p:nvPr>
            <p:custDataLst>
              <p:tags r:id="rId10"/>
            </p:custDataLst>
          </p:nvPr>
        </p:nvSpPr>
        <p:spPr bwMode="gray">
          <a:xfrm>
            <a:off x="5266056" y="4854944"/>
            <a:ext cx="2563494" cy="564781"/>
          </a:xfrm>
          <a:prstGeom prst="roundRect">
            <a:avLst/>
          </a:prstGeom>
          <a:solidFill>
            <a:schemeClr val="bg1">
              <a:lumMod val="95000"/>
            </a:schemeClr>
          </a:solidFill>
          <a:ln w="9525">
            <a:solidFill>
              <a:schemeClr val="bg1">
                <a:lumMod val="65000"/>
              </a:schemeClr>
            </a:solidFill>
          </a:ln>
          <a:effectLst>
            <a:outerShdw blurRad="2032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smtClean="0">
                <a:solidFill>
                  <a:schemeClr val="tx1"/>
                </a:solidFill>
              </a:rPr>
              <a:t>Partitioners determine which reducer is responsible for a particular key</a:t>
            </a:r>
            <a:endParaRPr lang="en-IN" sz="1200">
              <a:solidFill>
                <a:schemeClr val="tx1"/>
              </a:solidFill>
            </a:endParaRPr>
          </a:p>
        </p:txBody>
      </p:sp>
    </p:spTree>
    <p:extLst>
      <p:ext uri="{BB962C8B-B14F-4D97-AF65-F5344CB8AC3E}">
        <p14:creationId xmlns:p14="http://schemas.microsoft.com/office/powerpoint/2010/main" val="3730916186"/>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ext uri="{D42A27DB-BD31-4B8C-83A1-F6EECF244321}">
                <p14:modId xmlns:p14="http://schemas.microsoft.com/office/powerpoint/2010/main" val="1685361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6"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gray"/>
        <p:txBody>
          <a:bodyPr/>
          <a:lstStyle/>
          <a:p>
            <a:r>
              <a:rPr lang="en-US" smtClean="0"/>
              <a:t>MAPREDUCE - COMBINER</a:t>
            </a:r>
            <a:endParaRPr lang="en-IN"/>
          </a:p>
        </p:txBody>
      </p:sp>
      <p:grpSp>
        <p:nvGrpSpPr>
          <p:cNvPr id="103" name="Group 102"/>
          <p:cNvGrpSpPr/>
          <p:nvPr/>
        </p:nvGrpSpPr>
        <p:grpSpPr bwMode="gray">
          <a:xfrm>
            <a:off x="584201" y="1834516"/>
            <a:ext cx="8245474" cy="4093844"/>
            <a:chOff x="584201" y="1834516"/>
            <a:chExt cx="8245474" cy="4093844"/>
          </a:xfrm>
        </p:grpSpPr>
        <p:sp>
          <p:nvSpPr>
            <p:cNvPr id="17" name="Freeform 25"/>
            <p:cNvSpPr>
              <a:spLocks/>
            </p:cNvSpPr>
            <p:nvPr>
              <p:custDataLst>
                <p:tags r:id="rId4"/>
              </p:custDataLst>
            </p:nvPr>
          </p:nvSpPr>
          <p:spPr bwMode="gray">
            <a:xfrm>
              <a:off x="7186917" y="3545118"/>
              <a:ext cx="838782" cy="335455"/>
            </a:xfrm>
            <a:custGeom>
              <a:avLst/>
              <a:gdLst>
                <a:gd name="T0" fmla="+- 0 22040 19800"/>
                <a:gd name="T1" fmla="*/ T0 w 2400"/>
                <a:gd name="T2" fmla="+- 0 6166 6166"/>
                <a:gd name="T3" fmla="*/ 6166 h 960"/>
                <a:gd name="T4" fmla="+- 0 19953 19800"/>
                <a:gd name="T5" fmla="*/ T4 w 2400"/>
                <a:gd name="T6" fmla="+- 0 6166 6166"/>
                <a:gd name="T7" fmla="*/ 6166 h 960"/>
                <a:gd name="T8" fmla="+- 0 19888 19800"/>
                <a:gd name="T9" fmla="*/ T8 w 2400"/>
                <a:gd name="T10" fmla="+- 0 6183 6166"/>
                <a:gd name="T11" fmla="*/ 6183 h 960"/>
                <a:gd name="T12" fmla="+- 0 19837 19800"/>
                <a:gd name="T13" fmla="*/ T12 w 2400"/>
                <a:gd name="T14" fmla="+- 0 6223 6166"/>
                <a:gd name="T15" fmla="*/ 6223 h 960"/>
                <a:gd name="T16" fmla="+- 0 19806 19800"/>
                <a:gd name="T17" fmla="*/ T16 w 2400"/>
                <a:gd name="T18" fmla="+- 0 6281 6166"/>
                <a:gd name="T19" fmla="*/ 6281 h 960"/>
                <a:gd name="T20" fmla="+- 0 19800 19800"/>
                <a:gd name="T21" fmla="*/ T20 w 2400"/>
                <a:gd name="T22" fmla="+- 0 6326 6166"/>
                <a:gd name="T23" fmla="*/ 6326 h 960"/>
                <a:gd name="T24" fmla="+- 0 19800 19800"/>
                <a:gd name="T25" fmla="*/ T24 w 2400"/>
                <a:gd name="T26" fmla="+- 0 6973 6166"/>
                <a:gd name="T27" fmla="*/ 6973 h 960"/>
                <a:gd name="T28" fmla="+- 0 19817 19800"/>
                <a:gd name="T29" fmla="*/ T28 w 2400"/>
                <a:gd name="T30" fmla="+- 0 7038 6166"/>
                <a:gd name="T31" fmla="*/ 7038 h 960"/>
                <a:gd name="T32" fmla="+- 0 19857 19800"/>
                <a:gd name="T33" fmla="*/ T32 w 2400"/>
                <a:gd name="T34" fmla="+- 0 7088 6166"/>
                <a:gd name="T35" fmla="*/ 7088 h 960"/>
                <a:gd name="T36" fmla="+- 0 19915 19800"/>
                <a:gd name="T37" fmla="*/ T36 w 2400"/>
                <a:gd name="T38" fmla="+- 0 7119 6166"/>
                <a:gd name="T39" fmla="*/ 7119 h 960"/>
                <a:gd name="T40" fmla="+- 0 19960 19800"/>
                <a:gd name="T41" fmla="*/ T40 w 2400"/>
                <a:gd name="T42" fmla="+- 0 7126 6166"/>
                <a:gd name="T43" fmla="*/ 7126 h 960"/>
                <a:gd name="T44" fmla="+- 0 22047 19800"/>
                <a:gd name="T45" fmla="*/ T44 w 2400"/>
                <a:gd name="T46" fmla="+- 0 7125 6166"/>
                <a:gd name="T47" fmla="*/ 7125 h 960"/>
                <a:gd name="T48" fmla="+- 0 22112 19800"/>
                <a:gd name="T49" fmla="*/ T48 w 2400"/>
                <a:gd name="T50" fmla="+- 0 7109 6166"/>
                <a:gd name="T51" fmla="*/ 7109 h 960"/>
                <a:gd name="T52" fmla="+- 0 22163 19800"/>
                <a:gd name="T53" fmla="*/ T52 w 2400"/>
                <a:gd name="T54" fmla="+- 0 7068 6166"/>
                <a:gd name="T55" fmla="*/ 7068 h 960"/>
                <a:gd name="T56" fmla="+- 0 22194 19800"/>
                <a:gd name="T57" fmla="*/ T56 w 2400"/>
                <a:gd name="T58" fmla="+- 0 7011 6166"/>
                <a:gd name="T59" fmla="*/ 7011 h 960"/>
                <a:gd name="T60" fmla="+- 0 22200 19800"/>
                <a:gd name="T61" fmla="*/ T60 w 2400"/>
                <a:gd name="T62" fmla="+- 0 6966 6166"/>
                <a:gd name="T63" fmla="*/ 6966 h 960"/>
                <a:gd name="T64" fmla="+- 0 22200 19800"/>
                <a:gd name="T65" fmla="*/ T64 w 2400"/>
                <a:gd name="T66" fmla="+- 0 6318 6166"/>
                <a:gd name="T67" fmla="*/ 6318 h 960"/>
                <a:gd name="T68" fmla="+- 0 22183 19800"/>
                <a:gd name="T69" fmla="*/ T68 w 2400"/>
                <a:gd name="T70" fmla="+- 0 6254 6166"/>
                <a:gd name="T71" fmla="*/ 6254 h 960"/>
                <a:gd name="T72" fmla="+- 0 22143 19800"/>
                <a:gd name="T73" fmla="*/ T72 w 2400"/>
                <a:gd name="T74" fmla="+- 0 6203 6166"/>
                <a:gd name="T75" fmla="*/ 6203 h 960"/>
                <a:gd name="T76" fmla="+- 0 22085 19800"/>
                <a:gd name="T77" fmla="*/ T76 w 2400"/>
                <a:gd name="T78" fmla="+- 0 6172 6166"/>
                <a:gd name="T79" fmla="*/ 6172 h 960"/>
                <a:gd name="T80" fmla="+- 0 22040 19800"/>
                <a:gd name="T81" fmla="*/ T80 w 2400"/>
                <a:gd name="T82" fmla="+- 0 6166 6166"/>
                <a:gd name="T83" fmla="*/ 6166 h 960"/>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2400" h="960">
                  <a:moveTo>
                    <a:pt x="2240" y="0"/>
                  </a:moveTo>
                  <a:lnTo>
                    <a:pt x="153" y="0"/>
                  </a:lnTo>
                  <a:lnTo>
                    <a:pt x="88" y="17"/>
                  </a:lnTo>
                  <a:lnTo>
                    <a:pt x="37" y="57"/>
                  </a:lnTo>
                  <a:lnTo>
                    <a:pt x="6" y="115"/>
                  </a:lnTo>
                  <a:lnTo>
                    <a:pt x="0" y="160"/>
                  </a:lnTo>
                  <a:lnTo>
                    <a:pt x="0" y="807"/>
                  </a:lnTo>
                  <a:lnTo>
                    <a:pt x="17" y="872"/>
                  </a:lnTo>
                  <a:lnTo>
                    <a:pt x="57" y="922"/>
                  </a:lnTo>
                  <a:lnTo>
                    <a:pt x="115" y="953"/>
                  </a:lnTo>
                  <a:lnTo>
                    <a:pt x="160" y="960"/>
                  </a:lnTo>
                  <a:lnTo>
                    <a:pt x="2247" y="959"/>
                  </a:lnTo>
                  <a:lnTo>
                    <a:pt x="2312" y="943"/>
                  </a:lnTo>
                  <a:lnTo>
                    <a:pt x="2363" y="902"/>
                  </a:lnTo>
                  <a:lnTo>
                    <a:pt x="2394" y="845"/>
                  </a:lnTo>
                  <a:lnTo>
                    <a:pt x="2400" y="800"/>
                  </a:lnTo>
                  <a:lnTo>
                    <a:pt x="2400" y="152"/>
                  </a:lnTo>
                  <a:lnTo>
                    <a:pt x="2383" y="88"/>
                  </a:lnTo>
                  <a:lnTo>
                    <a:pt x="2343" y="37"/>
                  </a:lnTo>
                  <a:lnTo>
                    <a:pt x="2285" y="6"/>
                  </a:lnTo>
                  <a:lnTo>
                    <a:pt x="2240" y="0"/>
                  </a:ln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IN" sz="1200" smtClean="0">
                  <a:solidFill>
                    <a:schemeClr val="bg1"/>
                  </a:solidFill>
                </a:rPr>
                <a:t>Reducer</a:t>
              </a:r>
              <a:endParaRPr lang="en-IN" sz="1200">
                <a:solidFill>
                  <a:schemeClr val="bg1"/>
                </a:solidFill>
              </a:endParaRPr>
            </a:p>
          </p:txBody>
        </p:sp>
        <p:grpSp>
          <p:nvGrpSpPr>
            <p:cNvPr id="95" name="Group 94"/>
            <p:cNvGrpSpPr/>
            <p:nvPr>
              <p:custDataLst>
                <p:tags r:id="rId5"/>
              </p:custDataLst>
            </p:nvPr>
          </p:nvGrpSpPr>
          <p:grpSpPr bwMode="gray">
            <a:xfrm>
              <a:off x="6921500" y="3485833"/>
              <a:ext cx="255948" cy="454025"/>
              <a:chOff x="3244850" y="2006203"/>
              <a:chExt cx="255948" cy="454025"/>
            </a:xfrm>
          </p:grpSpPr>
          <p:cxnSp>
            <p:nvCxnSpPr>
              <p:cNvPr id="96" name="Elbow Connector 95"/>
              <p:cNvCxnSpPr/>
              <p:nvPr/>
            </p:nvCxnSpPr>
            <p:spPr bwMode="gray">
              <a:xfrm>
                <a:off x="3246120" y="2006203"/>
                <a:ext cx="254678" cy="220040"/>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Elbow Connector 96"/>
              <p:cNvCxnSpPr/>
              <p:nvPr/>
            </p:nvCxnSpPr>
            <p:spPr bwMode="gray">
              <a:xfrm flipV="1">
                <a:off x="3244850" y="2226243"/>
                <a:ext cx="255948" cy="233985"/>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9" name="Freeform 21"/>
            <p:cNvSpPr>
              <a:spLocks/>
            </p:cNvSpPr>
            <p:nvPr>
              <p:custDataLst>
                <p:tags r:id="rId6"/>
              </p:custDataLst>
            </p:nvPr>
          </p:nvSpPr>
          <p:spPr bwMode="gray">
            <a:xfrm>
              <a:off x="5152353" y="3545118"/>
              <a:ext cx="838782" cy="335455"/>
            </a:xfrm>
            <a:prstGeom prst="roundRect">
              <a:avLst/>
            </a:pr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IN" sz="1200" smtClean="0">
                  <a:solidFill>
                    <a:schemeClr val="bg1"/>
                  </a:solidFill>
                </a:rPr>
                <a:t>Shuffle</a:t>
              </a:r>
              <a:endParaRPr lang="en-IN" sz="1200">
                <a:solidFill>
                  <a:schemeClr val="bg1"/>
                </a:solidFill>
              </a:endParaRPr>
            </a:p>
          </p:txBody>
        </p:sp>
        <p:sp>
          <p:nvSpPr>
            <p:cNvPr id="28" name="Rectangle 27"/>
            <p:cNvSpPr/>
            <p:nvPr>
              <p:custDataLst>
                <p:tags r:id="rId7"/>
              </p:custDataLst>
            </p:nvPr>
          </p:nvSpPr>
          <p:spPr bwMode="gray">
            <a:xfrm>
              <a:off x="914400" y="1834516"/>
              <a:ext cx="419100" cy="409384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IN" sz="1400" smtClean="0"/>
                <a:t>BCDEDB DAACBD</a:t>
              </a:r>
              <a:endParaRPr lang="en-IN" sz="1400"/>
            </a:p>
          </p:txBody>
        </p:sp>
        <p:cxnSp>
          <p:nvCxnSpPr>
            <p:cNvPr id="42" name="Straight Connector 41"/>
            <p:cNvCxnSpPr/>
            <p:nvPr>
              <p:custDataLst>
                <p:tags r:id="rId8"/>
              </p:custDataLst>
            </p:nvPr>
          </p:nvCxnSpPr>
          <p:spPr bwMode="gray">
            <a:xfrm>
              <a:off x="746760" y="3848100"/>
              <a:ext cx="73914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Rectangle 44"/>
            <p:cNvSpPr/>
            <p:nvPr>
              <p:custDataLst>
                <p:tags r:id="rId9"/>
              </p:custDataLst>
            </p:nvPr>
          </p:nvSpPr>
          <p:spPr bwMode="gray">
            <a:xfrm>
              <a:off x="2667000" y="1834516"/>
              <a:ext cx="419100" cy="409384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IN" sz="1200" smtClean="0"/>
                <a:t>(B,1)</a:t>
              </a:r>
            </a:p>
            <a:p>
              <a:pPr algn="ctr"/>
              <a:r>
                <a:rPr lang="en-IN" sz="1200" smtClean="0"/>
                <a:t>(C,1)</a:t>
              </a:r>
            </a:p>
            <a:p>
              <a:pPr algn="ctr"/>
              <a:r>
                <a:rPr lang="en-IN" sz="1200" smtClean="0"/>
                <a:t>(D,1)</a:t>
              </a:r>
            </a:p>
            <a:p>
              <a:pPr algn="ctr"/>
              <a:r>
                <a:rPr lang="en-IN" sz="1200" smtClean="0"/>
                <a:t>(E,1)</a:t>
              </a:r>
            </a:p>
            <a:p>
              <a:pPr algn="ctr"/>
              <a:r>
                <a:rPr lang="en-IN" sz="1200" smtClean="0"/>
                <a:t>(D,1)</a:t>
              </a:r>
            </a:p>
            <a:p>
              <a:pPr algn="ctr"/>
              <a:r>
                <a:rPr lang="en-IN" sz="1200" smtClean="0"/>
                <a:t>(B,1)</a:t>
              </a:r>
            </a:p>
            <a:p>
              <a:pPr algn="ctr"/>
              <a:endParaRPr lang="en-IN" sz="1200" smtClean="0"/>
            </a:p>
            <a:p>
              <a:pPr algn="ctr"/>
              <a:endParaRPr lang="en-IN" sz="1200"/>
            </a:p>
            <a:p>
              <a:pPr algn="ctr"/>
              <a:r>
                <a:rPr lang="en-IN" sz="1200" smtClean="0"/>
                <a:t>(D,1)</a:t>
              </a:r>
            </a:p>
            <a:p>
              <a:pPr algn="ctr"/>
              <a:r>
                <a:rPr lang="en-IN" sz="1200" smtClean="0"/>
                <a:t>(A,1)</a:t>
              </a:r>
            </a:p>
            <a:p>
              <a:pPr algn="ctr"/>
              <a:r>
                <a:rPr lang="en-IN" sz="1200" smtClean="0"/>
                <a:t>(A,1)</a:t>
              </a:r>
            </a:p>
            <a:p>
              <a:pPr algn="ctr"/>
              <a:r>
                <a:rPr lang="en-IN" sz="1200" smtClean="0"/>
                <a:t>(C,1)</a:t>
              </a:r>
            </a:p>
            <a:p>
              <a:pPr algn="ctr"/>
              <a:r>
                <a:rPr lang="en-IN" sz="1200" smtClean="0"/>
                <a:t>(B,1)</a:t>
              </a:r>
            </a:p>
            <a:p>
              <a:pPr algn="ctr"/>
              <a:r>
                <a:rPr lang="en-IN" sz="1200" smtClean="0"/>
                <a:t>(D,1)</a:t>
              </a:r>
            </a:p>
            <a:p>
              <a:pPr algn="ctr"/>
              <a:endParaRPr lang="en-IN" sz="1200"/>
            </a:p>
          </p:txBody>
        </p:sp>
        <p:cxnSp>
          <p:nvCxnSpPr>
            <p:cNvPr id="52" name="Straight Connector 51"/>
            <p:cNvCxnSpPr/>
            <p:nvPr>
              <p:custDataLst>
                <p:tags r:id="rId10"/>
              </p:custDataLst>
            </p:nvPr>
          </p:nvCxnSpPr>
          <p:spPr bwMode="gray">
            <a:xfrm>
              <a:off x="2499360" y="3848100"/>
              <a:ext cx="73914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1" name="Group 80"/>
            <p:cNvGrpSpPr/>
            <p:nvPr>
              <p:custDataLst>
                <p:tags r:id="rId11"/>
              </p:custDataLst>
            </p:nvPr>
          </p:nvGrpSpPr>
          <p:grpSpPr bwMode="gray">
            <a:xfrm>
              <a:off x="1339850" y="2609691"/>
              <a:ext cx="3131673" cy="466249"/>
              <a:chOff x="1339850" y="2076291"/>
              <a:chExt cx="3131673" cy="466249"/>
            </a:xfrm>
          </p:grpSpPr>
          <p:sp>
            <p:nvSpPr>
              <p:cNvPr id="27" name="Freeform 5"/>
              <p:cNvSpPr>
                <a:spLocks/>
              </p:cNvSpPr>
              <p:nvPr>
                <p:custDataLst>
                  <p:tags r:id="rId23"/>
                </p:custDataLst>
              </p:nvPr>
            </p:nvSpPr>
            <p:spPr bwMode="gray">
              <a:xfrm>
                <a:off x="1595798" y="2141688"/>
                <a:ext cx="796843" cy="335455"/>
              </a:xfrm>
              <a:prstGeom prst="roundRect">
                <a:avLst/>
              </a:prstGeom>
              <a:solidFill>
                <a:srgbClr val="779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IN" sz="1200" smtClean="0">
                    <a:solidFill>
                      <a:schemeClr val="bg1"/>
                    </a:solidFill>
                  </a:rPr>
                  <a:t>Mapper</a:t>
                </a:r>
                <a:endParaRPr lang="en-IN" sz="1200">
                  <a:solidFill>
                    <a:schemeClr val="bg1"/>
                  </a:solidFill>
                </a:endParaRPr>
              </a:p>
            </p:txBody>
          </p:sp>
          <p:sp>
            <p:nvSpPr>
              <p:cNvPr id="25" name="Freeform 9"/>
              <p:cNvSpPr>
                <a:spLocks/>
              </p:cNvSpPr>
              <p:nvPr>
                <p:custDataLst>
                  <p:tags r:id="rId24"/>
                </p:custDataLst>
              </p:nvPr>
            </p:nvSpPr>
            <p:spPr bwMode="gray">
              <a:xfrm>
                <a:off x="3357240" y="2141688"/>
                <a:ext cx="838782" cy="335455"/>
              </a:xfrm>
              <a:prstGeom prst="round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r>
                  <a:rPr lang="en-IN" sz="1200" smtClean="0">
                    <a:solidFill>
                      <a:schemeClr val="bg1"/>
                    </a:solidFill>
                  </a:rPr>
                  <a:t>Combiner</a:t>
                </a:r>
                <a:endParaRPr lang="en-IN" sz="1200">
                  <a:solidFill>
                    <a:schemeClr val="bg1"/>
                  </a:solidFill>
                </a:endParaRPr>
              </a:p>
            </p:txBody>
          </p:sp>
          <p:grpSp>
            <p:nvGrpSpPr>
              <p:cNvPr id="37" name="Group 36"/>
              <p:cNvGrpSpPr/>
              <p:nvPr/>
            </p:nvGrpSpPr>
            <p:grpSpPr bwMode="gray">
              <a:xfrm>
                <a:off x="1339850" y="2082402"/>
                <a:ext cx="255948" cy="454026"/>
                <a:chOff x="1339850" y="2105025"/>
                <a:chExt cx="255948" cy="454026"/>
              </a:xfrm>
            </p:grpSpPr>
            <p:cxnSp>
              <p:nvCxnSpPr>
                <p:cNvPr id="31" name="Elbow Connector 30"/>
                <p:cNvCxnSpPr>
                  <a:endCxn id="27" idx="1"/>
                </p:cNvCxnSpPr>
                <p:nvPr/>
              </p:nvCxnSpPr>
              <p:spPr bwMode="gray">
                <a:xfrm>
                  <a:off x="1341120" y="2105025"/>
                  <a:ext cx="254678" cy="223441"/>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Elbow Connector 34"/>
                <p:cNvCxnSpPr>
                  <a:endCxn id="27" idx="1"/>
                </p:cNvCxnSpPr>
                <p:nvPr/>
              </p:nvCxnSpPr>
              <p:spPr bwMode="gray">
                <a:xfrm flipV="1">
                  <a:off x="1339850" y="2328466"/>
                  <a:ext cx="255948" cy="230585"/>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bwMode="gray">
              <a:xfrm>
                <a:off x="3092450" y="2082403"/>
                <a:ext cx="255948" cy="454025"/>
                <a:chOff x="1339850" y="2133600"/>
                <a:chExt cx="255948" cy="454025"/>
              </a:xfrm>
            </p:grpSpPr>
            <p:cxnSp>
              <p:nvCxnSpPr>
                <p:cNvPr id="47" name="Elbow Connector 46"/>
                <p:cNvCxnSpPr/>
                <p:nvPr/>
              </p:nvCxnSpPr>
              <p:spPr bwMode="gray">
                <a:xfrm>
                  <a:off x="1341120" y="2133600"/>
                  <a:ext cx="254678" cy="220040"/>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bwMode="gray">
                <a:xfrm flipV="1">
                  <a:off x="1339850" y="2353640"/>
                  <a:ext cx="255948" cy="233985"/>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bwMode="gray">
              <a:xfrm>
                <a:off x="2392641" y="2076291"/>
                <a:ext cx="281979" cy="466248"/>
                <a:chOff x="2392641" y="2088357"/>
                <a:chExt cx="281979" cy="466248"/>
              </a:xfrm>
            </p:grpSpPr>
            <p:cxnSp>
              <p:nvCxnSpPr>
                <p:cNvPr id="54" name="Elbow Connector 53"/>
                <p:cNvCxnSpPr>
                  <a:stCxn id="27" idx="3"/>
                </p:cNvCxnSpPr>
                <p:nvPr/>
              </p:nvCxnSpPr>
              <p:spPr bwMode="gray">
                <a:xfrm flipV="1">
                  <a:off x="2392641" y="2088357"/>
                  <a:ext cx="281503" cy="249634"/>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Elbow Connector 54"/>
                <p:cNvCxnSpPr>
                  <a:stCxn id="27" idx="3"/>
                </p:cNvCxnSpPr>
                <p:nvPr/>
              </p:nvCxnSpPr>
              <p:spPr bwMode="gray">
                <a:xfrm>
                  <a:off x="2392641" y="2337991"/>
                  <a:ext cx="281979" cy="216614"/>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68" name="Group 67"/>
              <p:cNvGrpSpPr/>
              <p:nvPr/>
            </p:nvGrpSpPr>
            <p:grpSpPr bwMode="gray">
              <a:xfrm>
                <a:off x="4189544" y="2076291"/>
                <a:ext cx="281979" cy="466249"/>
                <a:chOff x="2392641" y="2116931"/>
                <a:chExt cx="281979" cy="466249"/>
              </a:xfrm>
            </p:grpSpPr>
            <p:cxnSp>
              <p:nvCxnSpPr>
                <p:cNvPr id="69" name="Elbow Connector 68"/>
                <p:cNvCxnSpPr/>
                <p:nvPr/>
              </p:nvCxnSpPr>
              <p:spPr bwMode="gray">
                <a:xfrm flipV="1">
                  <a:off x="2392641" y="2116931"/>
                  <a:ext cx="281503" cy="236709"/>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Elbow Connector 69"/>
                <p:cNvCxnSpPr/>
                <p:nvPr/>
              </p:nvCxnSpPr>
              <p:spPr bwMode="gray">
                <a:xfrm>
                  <a:off x="2392641" y="2353640"/>
                  <a:ext cx="281979" cy="229540"/>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64" name="Group 63"/>
            <p:cNvGrpSpPr/>
            <p:nvPr>
              <p:custDataLst>
                <p:tags r:id="rId12"/>
              </p:custDataLst>
            </p:nvPr>
          </p:nvGrpSpPr>
          <p:grpSpPr bwMode="gray">
            <a:xfrm>
              <a:off x="1339850" y="4638095"/>
              <a:ext cx="3131673" cy="466249"/>
              <a:chOff x="1339850" y="3628445"/>
              <a:chExt cx="3131673" cy="466249"/>
            </a:xfrm>
          </p:grpSpPr>
          <p:sp>
            <p:nvSpPr>
              <p:cNvPr id="26" name="Freeform 7"/>
              <p:cNvSpPr>
                <a:spLocks/>
              </p:cNvSpPr>
              <p:nvPr>
                <p:custDataLst>
                  <p:tags r:id="rId21"/>
                </p:custDataLst>
              </p:nvPr>
            </p:nvSpPr>
            <p:spPr bwMode="gray">
              <a:xfrm>
                <a:off x="1595798" y="3693842"/>
                <a:ext cx="796843" cy="335455"/>
              </a:xfrm>
              <a:prstGeom prst="roundRect">
                <a:avLst/>
              </a:prstGeom>
              <a:solidFill>
                <a:srgbClr val="779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IN" sz="1200">
                    <a:solidFill>
                      <a:schemeClr val="bg1"/>
                    </a:solidFill>
                  </a:rPr>
                  <a:t>Mapper</a:t>
                </a:r>
              </a:p>
            </p:txBody>
          </p:sp>
          <p:sp>
            <p:nvSpPr>
              <p:cNvPr id="24" name="Freeform 11"/>
              <p:cNvSpPr>
                <a:spLocks/>
              </p:cNvSpPr>
              <p:nvPr>
                <p:custDataLst>
                  <p:tags r:id="rId22"/>
                </p:custDataLst>
              </p:nvPr>
            </p:nvSpPr>
            <p:spPr bwMode="gray">
              <a:xfrm>
                <a:off x="3361434" y="3693842"/>
                <a:ext cx="838782" cy="335455"/>
              </a:xfrm>
              <a:prstGeom prst="roundRect">
                <a:avLst/>
              </a:pr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r>
                  <a:rPr lang="en-IN" sz="1200">
                    <a:solidFill>
                      <a:schemeClr val="bg1"/>
                    </a:solidFill>
                  </a:rPr>
                  <a:t>Combiner</a:t>
                </a:r>
              </a:p>
            </p:txBody>
          </p:sp>
          <p:grpSp>
            <p:nvGrpSpPr>
              <p:cNvPr id="39" name="Group 38"/>
              <p:cNvGrpSpPr/>
              <p:nvPr/>
            </p:nvGrpSpPr>
            <p:grpSpPr bwMode="gray">
              <a:xfrm>
                <a:off x="1339850" y="3634557"/>
                <a:ext cx="255948" cy="454025"/>
                <a:chOff x="1339850" y="2133600"/>
                <a:chExt cx="255948" cy="454025"/>
              </a:xfrm>
            </p:grpSpPr>
            <p:cxnSp>
              <p:nvCxnSpPr>
                <p:cNvPr id="40" name="Elbow Connector 39"/>
                <p:cNvCxnSpPr/>
                <p:nvPr/>
              </p:nvCxnSpPr>
              <p:spPr bwMode="gray">
                <a:xfrm>
                  <a:off x="1341120" y="2133600"/>
                  <a:ext cx="254678" cy="220040"/>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Elbow Connector 40"/>
                <p:cNvCxnSpPr/>
                <p:nvPr/>
              </p:nvCxnSpPr>
              <p:spPr bwMode="gray">
                <a:xfrm flipV="1">
                  <a:off x="1339850" y="2353640"/>
                  <a:ext cx="255948" cy="233985"/>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bwMode="gray">
              <a:xfrm>
                <a:off x="3092450" y="3634557"/>
                <a:ext cx="255948" cy="454025"/>
                <a:chOff x="1339850" y="2133600"/>
                <a:chExt cx="255948" cy="454025"/>
              </a:xfrm>
            </p:grpSpPr>
            <p:cxnSp>
              <p:nvCxnSpPr>
                <p:cNvPr id="50" name="Elbow Connector 49"/>
                <p:cNvCxnSpPr/>
                <p:nvPr/>
              </p:nvCxnSpPr>
              <p:spPr bwMode="gray">
                <a:xfrm>
                  <a:off x="1341120" y="2133600"/>
                  <a:ext cx="254678" cy="220040"/>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Elbow Connector 50"/>
                <p:cNvCxnSpPr/>
                <p:nvPr/>
              </p:nvCxnSpPr>
              <p:spPr bwMode="gray">
                <a:xfrm flipV="1">
                  <a:off x="1339850" y="2353640"/>
                  <a:ext cx="255948" cy="233985"/>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65" name="Group 64"/>
              <p:cNvGrpSpPr/>
              <p:nvPr/>
            </p:nvGrpSpPr>
            <p:grpSpPr bwMode="gray">
              <a:xfrm>
                <a:off x="2392641" y="3628445"/>
                <a:ext cx="281979" cy="466249"/>
                <a:chOff x="2392641" y="2116931"/>
                <a:chExt cx="281979" cy="466249"/>
              </a:xfrm>
            </p:grpSpPr>
            <p:cxnSp>
              <p:nvCxnSpPr>
                <p:cNvPr id="66" name="Elbow Connector 65"/>
                <p:cNvCxnSpPr/>
                <p:nvPr/>
              </p:nvCxnSpPr>
              <p:spPr bwMode="gray">
                <a:xfrm flipV="1">
                  <a:off x="2392641" y="2116931"/>
                  <a:ext cx="281503" cy="236709"/>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Elbow Connector 66"/>
                <p:cNvCxnSpPr/>
                <p:nvPr/>
              </p:nvCxnSpPr>
              <p:spPr bwMode="gray">
                <a:xfrm>
                  <a:off x="2392641" y="2353640"/>
                  <a:ext cx="281979" cy="229540"/>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bwMode="gray">
              <a:xfrm>
                <a:off x="4189544" y="3628445"/>
                <a:ext cx="281979" cy="466249"/>
                <a:chOff x="2392641" y="2116931"/>
                <a:chExt cx="281979" cy="466249"/>
              </a:xfrm>
            </p:grpSpPr>
            <p:cxnSp>
              <p:nvCxnSpPr>
                <p:cNvPr id="72" name="Elbow Connector 71"/>
                <p:cNvCxnSpPr/>
                <p:nvPr/>
              </p:nvCxnSpPr>
              <p:spPr bwMode="gray">
                <a:xfrm flipV="1">
                  <a:off x="2392641" y="2116931"/>
                  <a:ext cx="281503" cy="236709"/>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Elbow Connector 72"/>
                <p:cNvCxnSpPr/>
                <p:nvPr/>
              </p:nvCxnSpPr>
              <p:spPr bwMode="gray">
                <a:xfrm>
                  <a:off x="2392641" y="2353640"/>
                  <a:ext cx="281979" cy="229540"/>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
          <p:nvSpPr>
            <p:cNvPr id="74" name="Rectangle 73"/>
            <p:cNvSpPr/>
            <p:nvPr>
              <p:custDataLst>
                <p:tags r:id="rId13"/>
              </p:custDataLst>
            </p:nvPr>
          </p:nvSpPr>
          <p:spPr bwMode="gray">
            <a:xfrm>
              <a:off x="4474535" y="1996441"/>
              <a:ext cx="419100" cy="171830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IN" sz="1200" smtClean="0"/>
                <a:t>(B,2)</a:t>
              </a:r>
            </a:p>
            <a:p>
              <a:pPr algn="ctr"/>
              <a:r>
                <a:rPr lang="en-IN" sz="1200" smtClean="0"/>
                <a:t>(C,1)</a:t>
              </a:r>
            </a:p>
            <a:p>
              <a:pPr algn="ctr"/>
              <a:r>
                <a:rPr lang="en-IN" sz="1200" smtClean="0"/>
                <a:t>(D,2)</a:t>
              </a:r>
            </a:p>
            <a:p>
              <a:pPr algn="ctr"/>
              <a:r>
                <a:rPr lang="en-IN" sz="1200" smtClean="0"/>
                <a:t>(E,1)</a:t>
              </a:r>
            </a:p>
          </p:txBody>
        </p:sp>
        <p:sp>
          <p:nvSpPr>
            <p:cNvPr id="83" name="Rectangle 82"/>
            <p:cNvSpPr/>
            <p:nvPr>
              <p:custDataLst>
                <p:tags r:id="rId14"/>
              </p:custDataLst>
            </p:nvPr>
          </p:nvSpPr>
          <p:spPr bwMode="gray">
            <a:xfrm>
              <a:off x="4474535" y="3987166"/>
              <a:ext cx="419100" cy="171830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IN" sz="1200" smtClean="0"/>
                <a:t>(D,12</a:t>
              </a:r>
            </a:p>
            <a:p>
              <a:pPr algn="ctr"/>
              <a:r>
                <a:rPr lang="en-IN" sz="1200" smtClean="0"/>
                <a:t>(A,2)</a:t>
              </a:r>
            </a:p>
            <a:p>
              <a:pPr algn="ctr"/>
              <a:r>
                <a:rPr lang="en-IN" sz="1200" smtClean="0"/>
                <a:t>(C,1)</a:t>
              </a:r>
            </a:p>
            <a:p>
              <a:pPr algn="ctr"/>
              <a:r>
                <a:rPr lang="en-IN" sz="1200" smtClean="0"/>
                <a:t>(B,1)</a:t>
              </a:r>
            </a:p>
          </p:txBody>
        </p:sp>
        <p:cxnSp>
          <p:nvCxnSpPr>
            <p:cNvPr id="84" name="Elbow Connector 83"/>
            <p:cNvCxnSpPr>
              <a:stCxn id="74" idx="3"/>
              <a:endCxn id="19" idx="1"/>
            </p:cNvCxnSpPr>
            <p:nvPr>
              <p:custDataLst>
                <p:tags r:id="rId15"/>
              </p:custDataLst>
            </p:nvPr>
          </p:nvCxnSpPr>
          <p:spPr bwMode="gray">
            <a:xfrm>
              <a:off x="4893635" y="2855596"/>
              <a:ext cx="258718" cy="857250"/>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7" name="Elbow Connector 86"/>
            <p:cNvCxnSpPr>
              <a:stCxn id="83" idx="3"/>
              <a:endCxn id="19" idx="1"/>
            </p:cNvCxnSpPr>
            <p:nvPr>
              <p:custDataLst>
                <p:tags r:id="rId16"/>
              </p:custDataLst>
            </p:nvPr>
          </p:nvCxnSpPr>
          <p:spPr bwMode="gray">
            <a:xfrm flipV="1">
              <a:off x="4893635" y="3712846"/>
              <a:ext cx="258718" cy="1133475"/>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2" name="Rectangle 91"/>
            <p:cNvSpPr/>
            <p:nvPr>
              <p:custDataLst>
                <p:tags r:id="rId17"/>
              </p:custDataLst>
            </p:nvPr>
          </p:nvSpPr>
          <p:spPr bwMode="gray">
            <a:xfrm>
              <a:off x="6284284" y="2853691"/>
              <a:ext cx="668965" cy="171830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IN" sz="1200" smtClean="0"/>
                <a:t>(A,[2])</a:t>
              </a:r>
            </a:p>
            <a:p>
              <a:pPr algn="ctr"/>
              <a:r>
                <a:rPr lang="en-IN" sz="1200" smtClean="0"/>
                <a:t>(B,[2,1])</a:t>
              </a:r>
            </a:p>
            <a:p>
              <a:pPr algn="ctr"/>
              <a:r>
                <a:rPr lang="en-IN" sz="1200" smtClean="0"/>
                <a:t>(C,[1,1])</a:t>
              </a:r>
            </a:p>
            <a:p>
              <a:pPr algn="ctr"/>
              <a:r>
                <a:rPr lang="en-IN" sz="1200" smtClean="0"/>
                <a:t>(D,[2,2])</a:t>
              </a:r>
            </a:p>
            <a:p>
              <a:pPr algn="ctr"/>
              <a:r>
                <a:rPr lang="en-IN" sz="1200" smtClean="0"/>
                <a:t>(E,[1])</a:t>
              </a:r>
            </a:p>
          </p:txBody>
        </p:sp>
        <p:grpSp>
          <p:nvGrpSpPr>
            <p:cNvPr id="91" name="Group 90"/>
            <p:cNvGrpSpPr/>
            <p:nvPr>
              <p:custDataLst>
                <p:tags r:id="rId18"/>
              </p:custDataLst>
            </p:nvPr>
          </p:nvGrpSpPr>
          <p:grpSpPr bwMode="gray">
            <a:xfrm>
              <a:off x="5989769" y="3479721"/>
              <a:ext cx="281979" cy="466249"/>
              <a:chOff x="4341944" y="2000091"/>
              <a:chExt cx="281979" cy="466249"/>
            </a:xfrm>
          </p:grpSpPr>
          <p:cxnSp>
            <p:nvCxnSpPr>
              <p:cNvPr id="93" name="Elbow Connector 92"/>
              <p:cNvCxnSpPr/>
              <p:nvPr/>
            </p:nvCxnSpPr>
            <p:spPr bwMode="gray">
              <a:xfrm flipV="1">
                <a:off x="4341944" y="2000091"/>
                <a:ext cx="281503" cy="236709"/>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p:nvPr/>
            </p:nvCxnSpPr>
            <p:spPr bwMode="gray">
              <a:xfrm>
                <a:off x="4341944" y="2236800"/>
                <a:ext cx="281979" cy="229540"/>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99" name="Group 98"/>
            <p:cNvGrpSpPr/>
            <p:nvPr>
              <p:custDataLst>
                <p:tags r:id="rId19"/>
              </p:custDataLst>
            </p:nvPr>
          </p:nvGrpSpPr>
          <p:grpSpPr bwMode="gray">
            <a:xfrm>
              <a:off x="8037644" y="3479721"/>
              <a:ext cx="281979" cy="466249"/>
              <a:chOff x="4341944" y="2000091"/>
              <a:chExt cx="281979" cy="466249"/>
            </a:xfrm>
          </p:grpSpPr>
          <p:cxnSp>
            <p:nvCxnSpPr>
              <p:cNvPr id="100" name="Elbow Connector 99"/>
              <p:cNvCxnSpPr/>
              <p:nvPr/>
            </p:nvCxnSpPr>
            <p:spPr bwMode="gray">
              <a:xfrm flipV="1">
                <a:off x="4341944" y="2000091"/>
                <a:ext cx="281503" cy="236709"/>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1" name="Elbow Connector 100"/>
              <p:cNvCxnSpPr/>
              <p:nvPr/>
            </p:nvCxnSpPr>
            <p:spPr bwMode="gray">
              <a:xfrm>
                <a:off x="4341944" y="2236800"/>
                <a:ext cx="281979" cy="229540"/>
              </a:xfrm>
              <a:prstGeom prst="bentConnector3">
                <a:avLst>
                  <a:gd name="adj1" fmla="val 50000"/>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02" name="Rectangle 101"/>
            <p:cNvSpPr/>
            <p:nvPr>
              <p:custDataLst>
                <p:tags r:id="rId20"/>
              </p:custDataLst>
            </p:nvPr>
          </p:nvSpPr>
          <p:spPr bwMode="gray">
            <a:xfrm>
              <a:off x="8322634" y="2853691"/>
              <a:ext cx="507041" cy="171830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IN" sz="1200" smtClean="0"/>
                <a:t>(A,2)</a:t>
              </a:r>
            </a:p>
            <a:p>
              <a:pPr algn="ctr"/>
              <a:r>
                <a:rPr lang="en-IN" sz="1200" smtClean="0"/>
                <a:t>(B,3)</a:t>
              </a:r>
            </a:p>
            <a:p>
              <a:pPr algn="ctr"/>
              <a:r>
                <a:rPr lang="en-IN" sz="1200" smtClean="0"/>
                <a:t>(C,2)</a:t>
              </a:r>
            </a:p>
            <a:p>
              <a:pPr algn="ctr"/>
              <a:r>
                <a:rPr lang="en-IN" sz="1200" smtClean="0"/>
                <a:t>(D,4)</a:t>
              </a:r>
            </a:p>
            <a:p>
              <a:pPr algn="ctr"/>
              <a:r>
                <a:rPr lang="en-IN" sz="1200" smtClean="0"/>
                <a:t>(E,1)</a:t>
              </a:r>
            </a:p>
          </p:txBody>
        </p:sp>
        <p:sp>
          <p:nvSpPr>
            <p:cNvPr id="98" name="Rectangle 97"/>
            <p:cNvSpPr/>
            <p:nvPr/>
          </p:nvSpPr>
          <p:spPr bwMode="gray">
            <a:xfrm rot="16200000">
              <a:off x="340704" y="2682359"/>
              <a:ext cx="856325" cy="369332"/>
            </a:xfrm>
            <a:prstGeom prst="rect">
              <a:avLst/>
            </a:prstGeom>
          </p:spPr>
          <p:txBody>
            <a:bodyPr wrap="none">
              <a:spAutoFit/>
            </a:bodyPr>
            <a:lstStyle/>
            <a:p>
              <a:r>
                <a:rPr lang="en-US" smtClean="0"/>
                <a:t>Block 1</a:t>
              </a:r>
              <a:endParaRPr lang="en-IN"/>
            </a:p>
          </p:txBody>
        </p:sp>
        <p:sp>
          <p:nvSpPr>
            <p:cNvPr id="104" name="Rectangle 103"/>
            <p:cNvSpPr/>
            <p:nvPr/>
          </p:nvSpPr>
          <p:spPr bwMode="gray">
            <a:xfrm rot="16200000">
              <a:off x="340704" y="4663561"/>
              <a:ext cx="856325" cy="369332"/>
            </a:xfrm>
            <a:prstGeom prst="rect">
              <a:avLst/>
            </a:prstGeom>
          </p:spPr>
          <p:txBody>
            <a:bodyPr wrap="none">
              <a:spAutoFit/>
            </a:bodyPr>
            <a:lstStyle/>
            <a:p>
              <a:r>
                <a:rPr lang="en-US" smtClean="0"/>
                <a:t>Block 2</a:t>
              </a:r>
              <a:endParaRPr lang="en-IN"/>
            </a:p>
          </p:txBody>
        </p:sp>
      </p:grpSp>
    </p:spTree>
    <p:extLst>
      <p:ext uri="{BB962C8B-B14F-4D97-AF65-F5344CB8AC3E}">
        <p14:creationId xmlns:p14="http://schemas.microsoft.com/office/powerpoint/2010/main" val="1384569685"/>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34257581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0"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gray"/>
        <p:txBody>
          <a:bodyPr/>
          <a:lstStyle/>
          <a:p>
            <a:r>
              <a:rPr lang="en-US" smtClean="0"/>
              <a:t>MAPREDUCE PARTITIONER</a:t>
            </a:r>
            <a:endParaRPr lang="en-IN"/>
          </a:p>
        </p:txBody>
      </p:sp>
      <p:grpSp>
        <p:nvGrpSpPr>
          <p:cNvPr id="47" name="Group 46"/>
          <p:cNvGrpSpPr/>
          <p:nvPr/>
        </p:nvGrpSpPr>
        <p:grpSpPr bwMode="gray">
          <a:xfrm>
            <a:off x="871870" y="1935125"/>
            <a:ext cx="7060018" cy="3611517"/>
            <a:chOff x="871870" y="1935125"/>
            <a:chExt cx="7060018" cy="3611517"/>
          </a:xfrm>
        </p:grpSpPr>
        <p:grpSp>
          <p:nvGrpSpPr>
            <p:cNvPr id="32" name="Group 31"/>
            <p:cNvGrpSpPr/>
            <p:nvPr/>
          </p:nvGrpSpPr>
          <p:grpSpPr bwMode="gray">
            <a:xfrm>
              <a:off x="3944679" y="2270051"/>
              <a:ext cx="1988288" cy="2557130"/>
              <a:chOff x="1711842" y="2270051"/>
              <a:chExt cx="1988288" cy="2557130"/>
            </a:xfrm>
          </p:grpSpPr>
          <p:cxnSp>
            <p:nvCxnSpPr>
              <p:cNvPr id="20" name="Straight Arrow Connector 19"/>
              <p:cNvCxnSpPr>
                <a:stCxn id="3" idx="3"/>
              </p:cNvCxnSpPr>
              <p:nvPr>
                <p:custDataLst>
                  <p:tags r:id="rId19"/>
                </p:custDataLst>
              </p:nvPr>
            </p:nvCxnSpPr>
            <p:spPr bwMode="gray">
              <a:xfrm>
                <a:off x="2498651" y="2270051"/>
                <a:ext cx="1180214" cy="0"/>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17" idx="1"/>
              </p:cNvCxnSpPr>
              <p:nvPr>
                <p:custDataLst>
                  <p:tags r:id="rId20"/>
                </p:custDataLst>
              </p:nvPr>
            </p:nvCxnSpPr>
            <p:spPr bwMode="gray">
              <a:xfrm>
                <a:off x="2073349" y="2562447"/>
                <a:ext cx="1626781" cy="1040207"/>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custDataLst>
                  <p:tags r:id="rId21"/>
                </p:custDataLst>
              </p:nvPr>
            </p:nvCxnSpPr>
            <p:spPr bwMode="gray">
              <a:xfrm>
                <a:off x="1711842" y="2679405"/>
                <a:ext cx="1967023" cy="2147776"/>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4" name="Group 3"/>
            <p:cNvGrpSpPr/>
            <p:nvPr>
              <p:custDataLst>
                <p:tags r:id="rId4"/>
              </p:custDataLst>
            </p:nvPr>
          </p:nvGrpSpPr>
          <p:grpSpPr bwMode="gray">
            <a:xfrm>
              <a:off x="3335084" y="1935125"/>
              <a:ext cx="1396404" cy="910847"/>
              <a:chOff x="1102247" y="1935125"/>
              <a:chExt cx="1396404" cy="910847"/>
            </a:xfrm>
          </p:grpSpPr>
          <p:sp>
            <p:nvSpPr>
              <p:cNvPr id="3" name="Flowchart: Document 2"/>
              <p:cNvSpPr/>
              <p:nvPr/>
            </p:nvSpPr>
            <p:spPr bwMode="gray">
              <a:xfrm>
                <a:off x="1318437" y="1935125"/>
                <a:ext cx="1180214" cy="669851"/>
              </a:xfrm>
              <a:prstGeom prst="flowChartDocument">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Flowchart: Document 4"/>
              <p:cNvSpPr/>
              <p:nvPr/>
            </p:nvSpPr>
            <p:spPr bwMode="gray">
              <a:xfrm>
                <a:off x="1210342" y="2055623"/>
                <a:ext cx="1180214" cy="669851"/>
              </a:xfrm>
              <a:prstGeom prst="flowChartDocument">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Flowchart: Document 5"/>
              <p:cNvSpPr/>
              <p:nvPr/>
            </p:nvSpPr>
            <p:spPr bwMode="gray">
              <a:xfrm>
                <a:off x="1102247" y="2176121"/>
                <a:ext cx="1180214" cy="669851"/>
              </a:xfrm>
              <a:prstGeom prst="flowChartDocument">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mtClean="0"/>
                  <a:t>Partitioner</a:t>
                </a:r>
                <a:endParaRPr lang="en-IN"/>
              </a:p>
            </p:txBody>
          </p:sp>
        </p:grpSp>
        <p:grpSp>
          <p:nvGrpSpPr>
            <p:cNvPr id="8" name="Group 7"/>
            <p:cNvGrpSpPr/>
            <p:nvPr>
              <p:custDataLst>
                <p:tags r:id="rId5"/>
              </p:custDataLst>
            </p:nvPr>
          </p:nvGrpSpPr>
          <p:grpSpPr bwMode="gray">
            <a:xfrm>
              <a:off x="3335084" y="3285460"/>
              <a:ext cx="1396404" cy="910847"/>
              <a:chOff x="1102247" y="1935125"/>
              <a:chExt cx="1396404" cy="910847"/>
            </a:xfrm>
          </p:grpSpPr>
          <p:sp>
            <p:nvSpPr>
              <p:cNvPr id="9" name="Flowchart: Document 8"/>
              <p:cNvSpPr/>
              <p:nvPr/>
            </p:nvSpPr>
            <p:spPr bwMode="gray">
              <a:xfrm>
                <a:off x="1318437" y="1935125"/>
                <a:ext cx="1180214" cy="669851"/>
              </a:xfrm>
              <a:prstGeom prst="flowChartDocument">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Flowchart: Document 9"/>
              <p:cNvSpPr/>
              <p:nvPr/>
            </p:nvSpPr>
            <p:spPr bwMode="gray">
              <a:xfrm>
                <a:off x="1210342" y="2055623"/>
                <a:ext cx="1180214" cy="669851"/>
              </a:xfrm>
              <a:prstGeom prst="flowChartDocument">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Flowchart: Document 10"/>
              <p:cNvSpPr/>
              <p:nvPr/>
            </p:nvSpPr>
            <p:spPr bwMode="gray">
              <a:xfrm>
                <a:off x="1102247" y="2176121"/>
                <a:ext cx="1180214" cy="669851"/>
              </a:xfrm>
              <a:prstGeom prst="flowChartDocument">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mtClean="0"/>
                  <a:t>Partitioner</a:t>
                </a:r>
                <a:endParaRPr lang="en-IN"/>
              </a:p>
            </p:txBody>
          </p:sp>
        </p:grpSp>
        <p:grpSp>
          <p:nvGrpSpPr>
            <p:cNvPr id="12" name="Group 11"/>
            <p:cNvGrpSpPr/>
            <p:nvPr>
              <p:custDataLst>
                <p:tags r:id="rId6"/>
              </p:custDataLst>
            </p:nvPr>
          </p:nvGrpSpPr>
          <p:grpSpPr bwMode="gray">
            <a:xfrm>
              <a:off x="3335084" y="4635795"/>
              <a:ext cx="1396404" cy="910847"/>
              <a:chOff x="1102247" y="1935125"/>
              <a:chExt cx="1396404" cy="910847"/>
            </a:xfrm>
          </p:grpSpPr>
          <p:sp>
            <p:nvSpPr>
              <p:cNvPr id="13" name="Flowchart: Document 12"/>
              <p:cNvSpPr/>
              <p:nvPr/>
            </p:nvSpPr>
            <p:spPr bwMode="gray">
              <a:xfrm>
                <a:off x="1318437" y="1935125"/>
                <a:ext cx="1180214" cy="669851"/>
              </a:xfrm>
              <a:prstGeom prst="flowChartDocument">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Flowchart: Document 13"/>
              <p:cNvSpPr/>
              <p:nvPr/>
            </p:nvSpPr>
            <p:spPr bwMode="gray">
              <a:xfrm>
                <a:off x="1210342" y="2055623"/>
                <a:ext cx="1180214" cy="669851"/>
              </a:xfrm>
              <a:prstGeom prst="flowChartDocument">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Flowchart: Document 14"/>
              <p:cNvSpPr/>
              <p:nvPr/>
            </p:nvSpPr>
            <p:spPr bwMode="gray">
              <a:xfrm>
                <a:off x="1102247" y="2176121"/>
                <a:ext cx="1180214" cy="669851"/>
              </a:xfrm>
              <a:prstGeom prst="flowChartDocument">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mtClean="0"/>
                  <a:t>Partitioner</a:t>
                </a:r>
                <a:endParaRPr lang="en-IN"/>
              </a:p>
            </p:txBody>
          </p:sp>
        </p:grpSp>
        <p:sp>
          <p:nvSpPr>
            <p:cNvPr id="7" name="Rounded Rectangle 6"/>
            <p:cNvSpPr/>
            <p:nvPr>
              <p:custDataLst>
                <p:tags r:id="rId7"/>
              </p:custDataLst>
            </p:nvPr>
          </p:nvSpPr>
          <p:spPr bwMode="gray">
            <a:xfrm>
              <a:off x="5932967" y="1986504"/>
              <a:ext cx="1998921" cy="53163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mtClean="0"/>
                <a:t>Reducer</a:t>
              </a:r>
              <a:endParaRPr lang="en-IN"/>
            </a:p>
          </p:txBody>
        </p:sp>
        <p:sp>
          <p:nvSpPr>
            <p:cNvPr id="17" name="Rounded Rectangle 16"/>
            <p:cNvSpPr/>
            <p:nvPr>
              <p:custDataLst>
                <p:tags r:id="rId8"/>
              </p:custDataLst>
            </p:nvPr>
          </p:nvSpPr>
          <p:spPr bwMode="gray">
            <a:xfrm>
              <a:off x="5932967" y="3336839"/>
              <a:ext cx="1998921" cy="53163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mtClean="0"/>
                <a:t>Reducer</a:t>
              </a:r>
              <a:endParaRPr lang="en-IN"/>
            </a:p>
          </p:txBody>
        </p:sp>
        <p:sp>
          <p:nvSpPr>
            <p:cNvPr id="18" name="Rounded Rectangle 17"/>
            <p:cNvSpPr/>
            <p:nvPr>
              <p:custDataLst>
                <p:tags r:id="rId9"/>
              </p:custDataLst>
            </p:nvPr>
          </p:nvSpPr>
          <p:spPr bwMode="gray">
            <a:xfrm>
              <a:off x="5932967" y="4687174"/>
              <a:ext cx="1998921" cy="53163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mtClean="0"/>
                <a:t>Reducer</a:t>
              </a:r>
              <a:endParaRPr lang="en-IN"/>
            </a:p>
          </p:txBody>
        </p:sp>
        <p:cxnSp>
          <p:nvCxnSpPr>
            <p:cNvPr id="34" name="Straight Arrow Connector 33"/>
            <p:cNvCxnSpPr/>
            <p:nvPr>
              <p:custDataLst>
                <p:tags r:id="rId10"/>
              </p:custDataLst>
            </p:nvPr>
          </p:nvCxnSpPr>
          <p:spPr bwMode="gray">
            <a:xfrm>
              <a:off x="4735033" y="3560135"/>
              <a:ext cx="1180214" cy="0"/>
            </a:xfrm>
            <a:prstGeom prst="straightConnector1">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custDataLst>
                <p:tags r:id="rId11"/>
              </p:custDataLst>
            </p:nvPr>
          </p:nvCxnSpPr>
          <p:spPr bwMode="gray">
            <a:xfrm flipV="1">
              <a:off x="4681870" y="2392326"/>
              <a:ext cx="1197934" cy="1316665"/>
            </a:xfrm>
            <a:prstGeom prst="straightConnector1">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custDataLst>
                <p:tags r:id="rId12"/>
              </p:custDataLst>
            </p:nvPr>
          </p:nvCxnSpPr>
          <p:spPr bwMode="gray">
            <a:xfrm>
              <a:off x="4618074" y="3836583"/>
              <a:ext cx="1304261" cy="1256412"/>
            </a:xfrm>
            <a:prstGeom prst="straightConnector1">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custDataLst>
                <p:tags r:id="rId13"/>
              </p:custDataLst>
            </p:nvPr>
          </p:nvCxnSpPr>
          <p:spPr bwMode="gray">
            <a:xfrm>
              <a:off x="4735033" y="4974265"/>
              <a:ext cx="1180214" cy="0"/>
            </a:xfrm>
            <a:prstGeom prst="straightConnector1">
              <a:avLst/>
            </a:prstGeom>
            <a:ln w="12700">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custDataLst>
                <p:tags r:id="rId14"/>
              </p:custDataLst>
            </p:nvPr>
          </p:nvCxnSpPr>
          <p:spPr bwMode="gray">
            <a:xfrm flipV="1">
              <a:off x="4756298" y="3785191"/>
              <a:ext cx="1176669" cy="1061483"/>
            </a:xfrm>
            <a:prstGeom prst="straightConnector1">
              <a:avLst/>
            </a:prstGeom>
            <a:ln w="12700">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custDataLst>
                <p:tags r:id="rId15"/>
              </p:custDataLst>
            </p:nvPr>
          </p:nvCxnSpPr>
          <p:spPr bwMode="gray">
            <a:xfrm flipV="1">
              <a:off x="4735033" y="2519916"/>
              <a:ext cx="1176669" cy="2177903"/>
            </a:xfrm>
            <a:prstGeom prst="straightConnector1">
              <a:avLst/>
            </a:prstGeom>
            <a:ln w="12700">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Rounded Rectangle 48"/>
            <p:cNvSpPr/>
            <p:nvPr>
              <p:custDataLst>
                <p:tags r:id="rId16"/>
              </p:custDataLst>
            </p:nvPr>
          </p:nvSpPr>
          <p:spPr bwMode="gray">
            <a:xfrm>
              <a:off x="871870" y="1986504"/>
              <a:ext cx="1626782" cy="531630"/>
            </a:xfrm>
            <a:prstGeom prst="roundRect">
              <a:avLst/>
            </a:prstGeom>
            <a:solidFill>
              <a:schemeClr val="accent3"/>
            </a:solidFill>
            <a:ln>
              <a:no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mtClean="0"/>
                <a:t>Map</a:t>
              </a:r>
              <a:endParaRPr lang="en-IN"/>
            </a:p>
          </p:txBody>
        </p:sp>
        <p:sp>
          <p:nvSpPr>
            <p:cNvPr id="50" name="Rounded Rectangle 49"/>
            <p:cNvSpPr/>
            <p:nvPr>
              <p:custDataLst>
                <p:tags r:id="rId17"/>
              </p:custDataLst>
            </p:nvPr>
          </p:nvSpPr>
          <p:spPr bwMode="gray">
            <a:xfrm>
              <a:off x="871870" y="3336839"/>
              <a:ext cx="1626782" cy="531630"/>
            </a:xfrm>
            <a:prstGeom prst="roundRect">
              <a:avLst/>
            </a:prstGeom>
            <a:solidFill>
              <a:schemeClr val="accent3"/>
            </a:solidFill>
            <a:ln>
              <a:no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a:t>Map</a:t>
              </a:r>
            </a:p>
          </p:txBody>
        </p:sp>
        <p:sp>
          <p:nvSpPr>
            <p:cNvPr id="51" name="Rounded Rectangle 50"/>
            <p:cNvSpPr/>
            <p:nvPr>
              <p:custDataLst>
                <p:tags r:id="rId18"/>
              </p:custDataLst>
            </p:nvPr>
          </p:nvSpPr>
          <p:spPr bwMode="gray">
            <a:xfrm>
              <a:off x="871870" y="4687174"/>
              <a:ext cx="1626782" cy="531630"/>
            </a:xfrm>
            <a:prstGeom prst="roundRect">
              <a:avLst/>
            </a:prstGeom>
            <a:solidFill>
              <a:schemeClr val="accent3"/>
            </a:solidFill>
            <a:ln>
              <a:no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a:t>Map</a:t>
              </a:r>
            </a:p>
          </p:txBody>
        </p:sp>
      </p:grpSp>
    </p:spTree>
    <p:extLst>
      <p:ext uri="{BB962C8B-B14F-4D97-AF65-F5344CB8AC3E}">
        <p14:creationId xmlns:p14="http://schemas.microsoft.com/office/powerpoint/2010/main" val="272567461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b="0"/>
              <a:t>WHAT IS BIGDATA</a:t>
            </a:r>
            <a:endParaRPr lang="en-IN"/>
          </a:p>
        </p:txBody>
      </p:sp>
      <p:sp>
        <p:nvSpPr>
          <p:cNvPr id="3" name="Right Arrow 2"/>
          <p:cNvSpPr/>
          <p:nvPr>
            <p:custDataLst>
              <p:tags r:id="rId1"/>
            </p:custDataLst>
          </p:nvPr>
        </p:nvSpPr>
        <p:spPr bwMode="gray">
          <a:xfrm>
            <a:off x="935666" y="1637416"/>
            <a:ext cx="7442790" cy="3157870"/>
          </a:xfrm>
          <a:prstGeom prst="rightArrow">
            <a:avLst>
              <a:gd name="adj1" fmla="val 61261"/>
              <a:gd name="adj2"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Freeform 2"/>
          <p:cNvSpPr>
            <a:spLocks/>
          </p:cNvSpPr>
          <p:nvPr>
            <p:custDataLst>
              <p:tags r:id="rId2"/>
            </p:custDataLst>
          </p:nvPr>
        </p:nvSpPr>
        <p:spPr bwMode="gray">
          <a:xfrm>
            <a:off x="584200" y="2420569"/>
            <a:ext cx="866332" cy="1577273"/>
          </a:xfrm>
          <a:prstGeom prst="roundRect">
            <a:avLst/>
          </a:prstGeom>
          <a:solidFill>
            <a:schemeClr val="bg1">
              <a:lumMod val="95000"/>
            </a:schemeClr>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vert="horz" wrap="square" lIns="0" tIns="0" rIns="0" bIns="0" numCol="1" anchor="ctr" anchorCtr="0" compatLnSpc="1">
            <a:prstTxWarp prst="textNoShape">
              <a:avLst/>
            </a:prstTxWarp>
          </a:bodyPr>
          <a:lstStyle/>
          <a:p>
            <a:pPr algn="ctr"/>
            <a:r>
              <a:rPr lang="en-IN" sz="1100"/>
              <a:t>Lots of data (Terabytes or Petabytes)</a:t>
            </a:r>
          </a:p>
        </p:txBody>
      </p:sp>
      <p:sp>
        <p:nvSpPr>
          <p:cNvPr id="5" name="Freeform 2"/>
          <p:cNvSpPr>
            <a:spLocks/>
          </p:cNvSpPr>
          <p:nvPr>
            <p:custDataLst>
              <p:tags r:id="rId3"/>
            </p:custDataLst>
          </p:nvPr>
        </p:nvSpPr>
        <p:spPr bwMode="gray">
          <a:xfrm>
            <a:off x="1555904" y="2420569"/>
            <a:ext cx="866332" cy="1577273"/>
          </a:xfrm>
          <a:prstGeom prst="roundRect">
            <a:avLst/>
          </a:prstGeom>
          <a:solidFill>
            <a:schemeClr val="bg1">
              <a:lumMod val="95000"/>
            </a:schemeClr>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vert="horz" wrap="square" lIns="0" tIns="0" rIns="0" bIns="0" numCol="1" anchor="ctr" anchorCtr="0" compatLnSpc="1">
            <a:prstTxWarp prst="textNoShape">
              <a:avLst/>
            </a:prstTxWarp>
          </a:bodyPr>
          <a:lstStyle/>
          <a:p>
            <a:pPr algn="ctr"/>
            <a:r>
              <a:rPr lang="en-IN" sz="1100" dirty="0"/>
              <a:t>Enterprises generate huge amount of data from Terabytes to and even Petabytes of information.</a:t>
            </a:r>
          </a:p>
        </p:txBody>
      </p:sp>
      <p:sp>
        <p:nvSpPr>
          <p:cNvPr id="6" name="Freeform 2"/>
          <p:cNvSpPr>
            <a:spLocks/>
          </p:cNvSpPr>
          <p:nvPr>
            <p:custDataLst>
              <p:tags r:id="rId4"/>
            </p:custDataLst>
          </p:nvPr>
        </p:nvSpPr>
        <p:spPr bwMode="gray">
          <a:xfrm>
            <a:off x="2527608" y="2420569"/>
            <a:ext cx="866332" cy="1577273"/>
          </a:xfrm>
          <a:prstGeom prst="roundRect">
            <a:avLst/>
          </a:prstGeom>
          <a:solidFill>
            <a:schemeClr val="bg1">
              <a:lumMod val="95000"/>
            </a:schemeClr>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vert="horz" wrap="square" lIns="0" tIns="0" rIns="0" bIns="0" numCol="1" anchor="ctr" anchorCtr="0" compatLnSpc="1">
            <a:prstTxWarp prst="textNoShape">
              <a:avLst/>
            </a:prstTxWarp>
          </a:bodyPr>
          <a:lstStyle/>
          <a:p>
            <a:pPr algn="ctr"/>
            <a:r>
              <a:rPr lang="en-IN" sz="1100"/>
              <a:t>Posts to social media sites</a:t>
            </a:r>
          </a:p>
        </p:txBody>
      </p:sp>
      <p:sp>
        <p:nvSpPr>
          <p:cNvPr id="7" name="Freeform 2"/>
          <p:cNvSpPr>
            <a:spLocks/>
          </p:cNvSpPr>
          <p:nvPr>
            <p:custDataLst>
              <p:tags r:id="rId5"/>
            </p:custDataLst>
          </p:nvPr>
        </p:nvSpPr>
        <p:spPr bwMode="gray">
          <a:xfrm>
            <a:off x="4471016" y="2420569"/>
            <a:ext cx="866332" cy="1577273"/>
          </a:xfrm>
          <a:prstGeom prst="roundRect">
            <a:avLst/>
          </a:prstGeom>
          <a:solidFill>
            <a:schemeClr val="bg1">
              <a:lumMod val="95000"/>
            </a:schemeClr>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vert="horz" wrap="square" lIns="0" tIns="0" rIns="0" bIns="0" numCol="1" anchor="ctr" anchorCtr="0" compatLnSpc="1">
            <a:prstTxWarp prst="textNoShape">
              <a:avLst/>
            </a:prstTxWarp>
          </a:bodyPr>
          <a:lstStyle/>
          <a:p>
            <a:pPr algn="ctr"/>
            <a:r>
              <a:rPr lang="en-IN" sz="1100"/>
              <a:t>Digital pictures and videos posted online</a:t>
            </a:r>
          </a:p>
        </p:txBody>
      </p:sp>
      <p:sp>
        <p:nvSpPr>
          <p:cNvPr id="8" name="Freeform 2"/>
          <p:cNvSpPr>
            <a:spLocks/>
          </p:cNvSpPr>
          <p:nvPr>
            <p:custDataLst>
              <p:tags r:id="rId6"/>
            </p:custDataLst>
          </p:nvPr>
        </p:nvSpPr>
        <p:spPr bwMode="gray">
          <a:xfrm>
            <a:off x="6414424" y="2420569"/>
            <a:ext cx="866332" cy="1577273"/>
          </a:xfrm>
          <a:prstGeom prst="roundRect">
            <a:avLst/>
          </a:prstGeom>
          <a:solidFill>
            <a:schemeClr val="bg1">
              <a:lumMod val="95000"/>
            </a:schemeClr>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vert="horz" wrap="square" lIns="0" tIns="0" rIns="0" bIns="0" numCol="1" anchor="ctr" anchorCtr="0" compatLnSpc="1">
            <a:prstTxWarp prst="textNoShape">
              <a:avLst/>
            </a:prstTxWarp>
          </a:bodyPr>
          <a:lstStyle/>
          <a:p>
            <a:pPr algn="ctr"/>
            <a:r>
              <a:rPr lang="en-IN" sz="1100"/>
              <a:t>Some key early indicators can mean fortunes to business</a:t>
            </a:r>
          </a:p>
        </p:txBody>
      </p:sp>
      <p:sp>
        <p:nvSpPr>
          <p:cNvPr id="9" name="Freeform 2"/>
          <p:cNvSpPr>
            <a:spLocks/>
          </p:cNvSpPr>
          <p:nvPr>
            <p:custDataLst>
              <p:tags r:id="rId7"/>
            </p:custDataLst>
          </p:nvPr>
        </p:nvSpPr>
        <p:spPr bwMode="gray">
          <a:xfrm>
            <a:off x="3499312" y="2420569"/>
            <a:ext cx="866332" cy="1577273"/>
          </a:xfrm>
          <a:prstGeom prst="roundRect">
            <a:avLst/>
          </a:prstGeom>
          <a:solidFill>
            <a:schemeClr val="bg1">
              <a:lumMod val="95000"/>
            </a:schemeClr>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vert="horz" wrap="square" lIns="0" tIns="0" rIns="0" bIns="0" numCol="1" anchor="ctr" anchorCtr="0" compatLnSpc="1">
            <a:prstTxWarp prst="textNoShape">
              <a:avLst/>
            </a:prstTxWarp>
          </a:bodyPr>
          <a:lstStyle/>
          <a:p>
            <a:pPr algn="ctr"/>
            <a:r>
              <a:rPr lang="en-IN" sz="1100"/>
              <a:t>Sensors used to gather climate information</a:t>
            </a:r>
          </a:p>
        </p:txBody>
      </p:sp>
      <p:sp>
        <p:nvSpPr>
          <p:cNvPr id="10" name="Freeform 2"/>
          <p:cNvSpPr>
            <a:spLocks/>
          </p:cNvSpPr>
          <p:nvPr>
            <p:custDataLst>
              <p:tags r:id="rId8"/>
            </p:custDataLst>
          </p:nvPr>
        </p:nvSpPr>
        <p:spPr bwMode="gray">
          <a:xfrm>
            <a:off x="5442720" y="2420569"/>
            <a:ext cx="866332" cy="1577273"/>
          </a:xfrm>
          <a:prstGeom prst="roundRect">
            <a:avLst/>
          </a:prstGeom>
          <a:solidFill>
            <a:schemeClr val="bg1">
              <a:lumMod val="95000"/>
            </a:schemeClr>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vert="horz" wrap="square" lIns="0" tIns="0" rIns="0" bIns="0" numCol="1" anchor="ctr" anchorCtr="0" compatLnSpc="1">
            <a:prstTxWarp prst="textNoShape">
              <a:avLst/>
            </a:prstTxWarp>
          </a:bodyPr>
          <a:lstStyle/>
          <a:p>
            <a:pPr algn="ctr"/>
            <a:r>
              <a:rPr lang="en-IN" sz="1100"/>
              <a:t>Insight into data can provide business advantage</a:t>
            </a:r>
          </a:p>
        </p:txBody>
      </p:sp>
      <p:sp>
        <p:nvSpPr>
          <p:cNvPr id="11" name="Freeform 2"/>
          <p:cNvSpPr>
            <a:spLocks/>
          </p:cNvSpPr>
          <p:nvPr>
            <p:custDataLst>
              <p:tags r:id="rId9"/>
            </p:custDataLst>
          </p:nvPr>
        </p:nvSpPr>
        <p:spPr bwMode="gray">
          <a:xfrm>
            <a:off x="7386128" y="2420569"/>
            <a:ext cx="866332" cy="1577273"/>
          </a:xfrm>
          <a:prstGeom prst="roundRect">
            <a:avLst/>
          </a:prstGeom>
          <a:solidFill>
            <a:schemeClr val="bg1">
              <a:lumMod val="95000"/>
            </a:schemeClr>
          </a:solidFill>
          <a:ln w="9525">
            <a:solidFill>
              <a:schemeClr val="bg1">
                <a:lumMod val="65000"/>
              </a:schemeClr>
            </a:solidFill>
            <a:round/>
            <a:headEnd/>
            <a:tailEnd/>
          </a:ln>
          <a:effectLst>
            <a:outerShdw blurRad="50800" dist="38100" dir="2700000" algn="tl" rotWithShape="0">
              <a:prstClr val="black">
                <a:alpha val="40000"/>
              </a:prstClr>
            </a:outerShdw>
          </a:effectLst>
        </p:spPr>
        <p:txBody>
          <a:bodyPr vert="horz" wrap="square" lIns="0" tIns="0" rIns="0" bIns="0" numCol="1" anchor="ctr" anchorCtr="0" compatLnSpc="1">
            <a:prstTxWarp prst="textNoShape">
              <a:avLst/>
            </a:prstTxWarp>
          </a:bodyPr>
          <a:lstStyle/>
          <a:p>
            <a:pPr algn="ctr"/>
            <a:r>
              <a:rPr lang="en-IN" sz="1100"/>
              <a:t>More precise analysis with more data</a:t>
            </a:r>
          </a:p>
        </p:txBody>
      </p:sp>
    </p:spTree>
    <p:extLst>
      <p:ext uri="{BB962C8B-B14F-4D97-AF65-F5344CB8AC3E}">
        <p14:creationId xmlns:p14="http://schemas.microsoft.com/office/powerpoint/2010/main" val="2188023958"/>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570028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gray"/>
        <p:txBody>
          <a:bodyPr/>
          <a:lstStyle/>
          <a:p>
            <a:r>
              <a:rPr lang="en-US" smtClean="0"/>
              <a:t>MAPPER API</a:t>
            </a:r>
            <a:endParaRPr lang="en-IN"/>
          </a:p>
        </p:txBody>
      </p:sp>
      <p:sp>
        <p:nvSpPr>
          <p:cNvPr id="3" name="Rectangle 2"/>
          <p:cNvSpPr/>
          <p:nvPr>
            <p:custDataLst>
              <p:tags r:id="rId4"/>
            </p:custDataLst>
          </p:nvPr>
        </p:nvSpPr>
        <p:spPr bwMode="gray">
          <a:xfrm>
            <a:off x="562935" y="2242939"/>
            <a:ext cx="8276266" cy="1231106"/>
          </a:xfrm>
          <a:prstGeom prst="rect">
            <a:avLst/>
          </a:prstGeom>
        </p:spPr>
        <p:txBody>
          <a:bodyPr wrap="square" lIns="0" tIns="0" rIns="0" bIns="0">
            <a:spAutoFit/>
          </a:bodyPr>
          <a:lstStyle/>
          <a:p>
            <a:pPr>
              <a:spcBef>
                <a:spcPts val="1200"/>
              </a:spcBef>
              <a:buClr>
                <a:schemeClr val="bg2"/>
              </a:buClr>
              <a:buSzPct val="125000"/>
            </a:pPr>
            <a:r>
              <a:rPr lang="en-US" sz="2000" dirty="0">
                <a:solidFill>
                  <a:srgbClr val="FF0000"/>
                </a:solidFill>
              </a:rPr>
              <a:t>public class </a:t>
            </a:r>
            <a:r>
              <a:rPr lang="en-US" sz="2000" dirty="0" err="1">
                <a:solidFill>
                  <a:srgbClr val="FF0000"/>
                </a:solidFill>
              </a:rPr>
              <a:t>MyMapper</a:t>
            </a:r>
            <a:r>
              <a:rPr lang="en-US" sz="2000" dirty="0">
                <a:solidFill>
                  <a:srgbClr val="FF0000"/>
                </a:solidFill>
              </a:rPr>
              <a:t> extends Mapper&lt;</a:t>
            </a:r>
            <a:r>
              <a:rPr lang="en-US" sz="2000" dirty="0" err="1">
                <a:solidFill>
                  <a:srgbClr val="FF0000"/>
                </a:solidFill>
              </a:rPr>
              <a:t>LongWritable</a:t>
            </a:r>
            <a:r>
              <a:rPr lang="en-US" sz="2000" dirty="0">
                <a:solidFill>
                  <a:srgbClr val="FF0000"/>
                </a:solidFill>
              </a:rPr>
              <a:t>, Text, Text, </a:t>
            </a:r>
            <a:r>
              <a:rPr lang="en-US" sz="2000" dirty="0" err="1">
                <a:solidFill>
                  <a:srgbClr val="FF0000"/>
                </a:solidFill>
              </a:rPr>
              <a:t>lntWritable</a:t>
            </a:r>
            <a:r>
              <a:rPr lang="en-US" sz="2000" dirty="0">
                <a:solidFill>
                  <a:srgbClr val="FF0000"/>
                </a:solidFill>
              </a:rPr>
              <a:t>&gt;</a:t>
            </a:r>
            <a:endParaRPr lang="en-IN" sz="2000" dirty="0">
              <a:solidFill>
                <a:srgbClr val="FF0000"/>
              </a:solidFill>
            </a:endParaRPr>
          </a:p>
          <a:p>
            <a:pPr>
              <a:spcBef>
                <a:spcPts val="1200"/>
              </a:spcBef>
              <a:buClr>
                <a:schemeClr val="bg2"/>
              </a:buClr>
              <a:buSzPct val="125000"/>
            </a:pPr>
            <a:r>
              <a:rPr lang="en-US" sz="2000" dirty="0" smtClean="0">
                <a:solidFill>
                  <a:srgbClr val="FF0000"/>
                </a:solidFill>
              </a:rPr>
              <a:t>&lt;</a:t>
            </a:r>
            <a:r>
              <a:rPr lang="en-US" sz="2000" dirty="0" err="1">
                <a:solidFill>
                  <a:srgbClr val="FF0000"/>
                </a:solidFill>
              </a:rPr>
              <a:t>LogWritable</a:t>
            </a:r>
            <a:r>
              <a:rPr lang="en-US" sz="2000" dirty="0">
                <a:solidFill>
                  <a:srgbClr val="FF0000"/>
                </a:solidFill>
              </a:rPr>
              <a:t>, Text&gt; key-value pair input to mapper</a:t>
            </a:r>
            <a:endParaRPr lang="en-IN" sz="2000" dirty="0">
              <a:solidFill>
                <a:srgbClr val="FF0000"/>
              </a:solidFill>
            </a:endParaRPr>
          </a:p>
          <a:p>
            <a:pPr>
              <a:spcBef>
                <a:spcPts val="1200"/>
              </a:spcBef>
              <a:buClr>
                <a:schemeClr val="bg2"/>
              </a:buClr>
              <a:buSzPct val="125000"/>
            </a:pPr>
            <a:r>
              <a:rPr lang="en-US" sz="2000" dirty="0" smtClean="0">
                <a:solidFill>
                  <a:srgbClr val="FF0000"/>
                </a:solidFill>
              </a:rPr>
              <a:t>&lt;</a:t>
            </a:r>
            <a:r>
              <a:rPr lang="en-US" sz="2000" dirty="0" err="1">
                <a:solidFill>
                  <a:srgbClr val="FF0000"/>
                </a:solidFill>
              </a:rPr>
              <a:t>Text,lntWritable</a:t>
            </a:r>
            <a:r>
              <a:rPr lang="en-US" sz="2000" dirty="0">
                <a:solidFill>
                  <a:srgbClr val="FF0000"/>
                </a:solidFill>
              </a:rPr>
              <a:t>&gt; key-value pair output of mapper</a:t>
            </a:r>
            <a:endParaRPr lang="en-IN" sz="2000" dirty="0">
              <a:solidFill>
                <a:srgbClr val="FF0000"/>
              </a:solidFill>
            </a:endParaRPr>
          </a:p>
        </p:txBody>
      </p:sp>
    </p:spTree>
    <p:extLst>
      <p:ext uri="{BB962C8B-B14F-4D97-AF65-F5344CB8AC3E}">
        <p14:creationId xmlns:p14="http://schemas.microsoft.com/office/powerpoint/2010/main" val="3146488580"/>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65783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p:cNvSpPr/>
          <p:nvPr>
            <p:custDataLst>
              <p:tags r:id="rId3"/>
            </p:custDataLst>
          </p:nvPr>
        </p:nvSpPr>
        <p:spPr bwMode="gray">
          <a:xfrm>
            <a:off x="574154" y="2274838"/>
            <a:ext cx="8265046" cy="1077218"/>
          </a:xfrm>
          <a:prstGeom prst="rect">
            <a:avLst/>
          </a:prstGeom>
        </p:spPr>
        <p:txBody>
          <a:bodyPr wrap="square" lIns="0" tIns="0" rIns="0" bIns="0">
            <a:spAutoFit/>
          </a:bodyPr>
          <a:lstStyle/>
          <a:p>
            <a:pPr>
              <a:spcBef>
                <a:spcPts val="1200"/>
              </a:spcBef>
              <a:buClr>
                <a:schemeClr val="bg2"/>
              </a:buClr>
              <a:buSzPct val="125000"/>
            </a:pPr>
            <a:r>
              <a:rPr lang="en-IN" sz="2000" dirty="0">
                <a:solidFill>
                  <a:srgbClr val="FF0000"/>
                </a:solidFill>
              </a:rPr>
              <a:t>Override map ( ) method</a:t>
            </a:r>
          </a:p>
          <a:p>
            <a:pPr>
              <a:spcBef>
                <a:spcPts val="1200"/>
              </a:spcBef>
              <a:buClr>
                <a:schemeClr val="bg2"/>
              </a:buClr>
              <a:buSzPct val="125000"/>
            </a:pPr>
            <a:r>
              <a:rPr lang="en-IN" sz="2000" dirty="0">
                <a:solidFill>
                  <a:srgbClr val="FF0000"/>
                </a:solidFill>
              </a:rPr>
              <a:t>Public void map (Long Writable key, Text value, Context context) </a:t>
            </a:r>
            <a:r>
              <a:rPr lang="en-IN" sz="2000">
                <a:solidFill>
                  <a:srgbClr val="FF0000"/>
                </a:solidFill>
              </a:rPr>
              <a:t>throws </a:t>
            </a:r>
            <a:r>
              <a:rPr lang="en-IN" sz="2000" smtClean="0">
                <a:solidFill>
                  <a:srgbClr val="FF0000"/>
                </a:solidFill>
              </a:rPr>
              <a:t>lO Exception</a:t>
            </a:r>
            <a:r>
              <a:rPr lang="en-IN" sz="2000" dirty="0">
                <a:solidFill>
                  <a:srgbClr val="FF0000"/>
                </a:solidFill>
              </a:rPr>
              <a:t>, Interrupted Exception</a:t>
            </a:r>
          </a:p>
        </p:txBody>
      </p:sp>
    </p:spTree>
    <p:extLst>
      <p:ext uri="{BB962C8B-B14F-4D97-AF65-F5344CB8AC3E}">
        <p14:creationId xmlns:p14="http://schemas.microsoft.com/office/powerpoint/2010/main" val="742400929"/>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MAP REDUCE EXAMPLE</a:t>
            </a:r>
            <a:endParaRPr lang="en-IN"/>
          </a:p>
        </p:txBody>
      </p:sp>
      <p:grpSp>
        <p:nvGrpSpPr>
          <p:cNvPr id="3" name="Group 2"/>
          <p:cNvGrpSpPr/>
          <p:nvPr/>
        </p:nvGrpSpPr>
        <p:grpSpPr bwMode="gray">
          <a:xfrm>
            <a:off x="584200" y="1479342"/>
            <a:ext cx="8104381" cy="4049609"/>
            <a:chOff x="584200" y="958325"/>
            <a:chExt cx="8104381" cy="4049609"/>
          </a:xfrm>
        </p:grpSpPr>
        <p:sp>
          <p:nvSpPr>
            <p:cNvPr id="5" name="Freeform 5"/>
            <p:cNvSpPr>
              <a:spLocks/>
            </p:cNvSpPr>
            <p:nvPr>
              <p:custDataLst>
                <p:tags r:id="rId1"/>
              </p:custDataLst>
            </p:nvPr>
          </p:nvSpPr>
          <p:spPr bwMode="gray">
            <a:xfrm>
              <a:off x="2127740" y="2281685"/>
              <a:ext cx="902540" cy="335455"/>
            </a:xfrm>
            <a:prstGeom prst="roundRect">
              <a:avLst/>
            </a:prstGeom>
            <a:solidFill>
              <a:srgbClr val="779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r>
                <a:rPr lang="en-IN" sz="900">
                  <a:solidFill>
                    <a:schemeClr val="bg1"/>
                  </a:solidFill>
                </a:rPr>
                <a:t>Deer Bear River </a:t>
              </a:r>
            </a:p>
          </p:txBody>
        </p:sp>
        <p:sp>
          <p:nvSpPr>
            <p:cNvPr id="6" name="Freeform 9"/>
            <p:cNvSpPr>
              <a:spLocks/>
            </p:cNvSpPr>
            <p:nvPr>
              <p:custDataLst>
                <p:tags r:id="rId2"/>
              </p:custDataLst>
            </p:nvPr>
          </p:nvSpPr>
          <p:spPr bwMode="gray">
            <a:xfrm>
              <a:off x="3346607" y="2052084"/>
              <a:ext cx="838782" cy="794656"/>
            </a:xfrm>
            <a:prstGeom prst="roundRect">
              <a:avLst/>
            </a:prstGeom>
            <a:solidFill>
              <a:srgbClr val="00B0F0"/>
            </a:solidFill>
            <a:ln>
              <a:noFill/>
            </a:ln>
          </p:spPr>
          <p:txBody>
            <a:bodyPr vert="horz" wrap="square" lIns="91440" tIns="45720" rIns="91440" bIns="45720" numCol="1" anchor="ctr" anchorCtr="0" compatLnSpc="1">
              <a:prstTxWarp prst="textNoShape">
                <a:avLst/>
              </a:prstTxWarp>
            </a:bodyPr>
            <a:lstStyle/>
            <a:p>
              <a:r>
                <a:rPr lang="en-IN" sz="1000" smtClean="0">
                  <a:solidFill>
                    <a:schemeClr val="bg1"/>
                  </a:solidFill>
                </a:rPr>
                <a:t>Deer, 1</a:t>
              </a:r>
            </a:p>
            <a:p>
              <a:r>
                <a:rPr lang="en-IN" sz="1000" smtClean="0">
                  <a:solidFill>
                    <a:schemeClr val="bg1"/>
                  </a:solidFill>
                </a:rPr>
                <a:t>Bear, 1</a:t>
              </a:r>
            </a:p>
            <a:p>
              <a:r>
                <a:rPr lang="en-IN" sz="1000" smtClean="0">
                  <a:solidFill>
                    <a:schemeClr val="bg1"/>
                  </a:solidFill>
                </a:rPr>
                <a:t>River, 1</a:t>
              </a:r>
            </a:p>
          </p:txBody>
        </p:sp>
        <p:sp>
          <p:nvSpPr>
            <p:cNvPr id="7" name="Freeform 21"/>
            <p:cNvSpPr>
              <a:spLocks/>
            </p:cNvSpPr>
            <p:nvPr>
              <p:custDataLst>
                <p:tags r:id="rId3"/>
              </p:custDataLst>
            </p:nvPr>
          </p:nvSpPr>
          <p:spPr bwMode="gray">
            <a:xfrm>
              <a:off x="584200" y="2987548"/>
              <a:ext cx="1182586" cy="983074"/>
            </a:xfrm>
            <a:prstGeom prst="roundRect">
              <a:avLst/>
            </a:pr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r>
                <a:rPr lang="en-US" sz="1000">
                  <a:solidFill>
                    <a:schemeClr val="bg1"/>
                  </a:solidFill>
                </a:rPr>
                <a:t>Dear Bear River Car Car River Deer Car Bear</a:t>
              </a:r>
              <a:endParaRPr lang="en-IN" sz="1000">
                <a:solidFill>
                  <a:schemeClr val="bg1"/>
                </a:solidFill>
              </a:endParaRPr>
            </a:p>
          </p:txBody>
        </p:sp>
        <p:sp>
          <p:nvSpPr>
            <p:cNvPr id="8" name="Freeform 5"/>
            <p:cNvSpPr>
              <a:spLocks/>
            </p:cNvSpPr>
            <p:nvPr>
              <p:custDataLst>
                <p:tags r:id="rId4"/>
              </p:custDataLst>
            </p:nvPr>
          </p:nvSpPr>
          <p:spPr bwMode="gray">
            <a:xfrm>
              <a:off x="2127740" y="4418836"/>
              <a:ext cx="902540" cy="335455"/>
            </a:xfrm>
            <a:prstGeom prst="roundRect">
              <a:avLst/>
            </a:prstGeom>
            <a:solidFill>
              <a:srgbClr val="779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r>
                <a:rPr lang="en-IN" sz="900">
                  <a:solidFill>
                    <a:schemeClr val="bg1"/>
                  </a:solidFill>
                </a:rPr>
                <a:t>Deer Car Bear</a:t>
              </a:r>
            </a:p>
          </p:txBody>
        </p:sp>
        <p:sp>
          <p:nvSpPr>
            <p:cNvPr id="9" name="Freeform 5"/>
            <p:cNvSpPr>
              <a:spLocks/>
            </p:cNvSpPr>
            <p:nvPr>
              <p:custDataLst>
                <p:tags r:id="rId5"/>
              </p:custDataLst>
            </p:nvPr>
          </p:nvSpPr>
          <p:spPr bwMode="gray">
            <a:xfrm>
              <a:off x="2127740" y="3313045"/>
              <a:ext cx="902540" cy="335455"/>
            </a:xfrm>
            <a:prstGeom prst="roundRect">
              <a:avLst/>
            </a:prstGeom>
            <a:solidFill>
              <a:srgbClr val="779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r>
                <a:rPr lang="en-IN" sz="900">
                  <a:solidFill>
                    <a:schemeClr val="bg1"/>
                  </a:solidFill>
                </a:rPr>
                <a:t>Car CarRiver</a:t>
              </a:r>
            </a:p>
          </p:txBody>
        </p:sp>
        <p:sp>
          <p:nvSpPr>
            <p:cNvPr id="10" name="Freeform 9"/>
            <p:cNvSpPr>
              <a:spLocks/>
            </p:cNvSpPr>
            <p:nvPr>
              <p:custDataLst>
                <p:tags r:id="rId6"/>
              </p:custDataLst>
            </p:nvPr>
          </p:nvSpPr>
          <p:spPr bwMode="gray">
            <a:xfrm>
              <a:off x="3346607" y="3083444"/>
              <a:ext cx="838782" cy="794656"/>
            </a:xfrm>
            <a:prstGeom prst="roundRect">
              <a:avLst/>
            </a:prstGeom>
            <a:solidFill>
              <a:srgbClr val="00B0F0"/>
            </a:solidFill>
            <a:ln>
              <a:noFill/>
            </a:ln>
          </p:spPr>
          <p:txBody>
            <a:bodyPr vert="horz" wrap="square" lIns="91440" tIns="45720" rIns="91440" bIns="45720" numCol="1" anchor="ctr" anchorCtr="0" compatLnSpc="1">
              <a:prstTxWarp prst="textNoShape">
                <a:avLst/>
              </a:prstTxWarp>
            </a:bodyPr>
            <a:lstStyle/>
            <a:p>
              <a:r>
                <a:rPr lang="en-IN" sz="1000" smtClean="0">
                  <a:solidFill>
                    <a:schemeClr val="bg1"/>
                  </a:solidFill>
                </a:rPr>
                <a:t>Car, 1 </a:t>
              </a:r>
            </a:p>
            <a:p>
              <a:r>
                <a:rPr lang="en-IN" sz="1000">
                  <a:solidFill>
                    <a:schemeClr val="bg1"/>
                  </a:solidFill>
                </a:rPr>
                <a:t>Car, 1 </a:t>
              </a:r>
            </a:p>
            <a:p>
              <a:r>
                <a:rPr lang="en-IN" sz="1000" smtClean="0">
                  <a:solidFill>
                    <a:schemeClr val="bg1"/>
                  </a:solidFill>
                </a:rPr>
                <a:t>River, 1</a:t>
              </a:r>
              <a:endParaRPr lang="en-IN" sz="1000">
                <a:solidFill>
                  <a:schemeClr val="bg1"/>
                </a:solidFill>
              </a:endParaRPr>
            </a:p>
          </p:txBody>
        </p:sp>
        <p:sp>
          <p:nvSpPr>
            <p:cNvPr id="11" name="Freeform 9"/>
            <p:cNvSpPr>
              <a:spLocks/>
            </p:cNvSpPr>
            <p:nvPr>
              <p:custDataLst>
                <p:tags r:id="rId7"/>
              </p:custDataLst>
            </p:nvPr>
          </p:nvSpPr>
          <p:spPr bwMode="gray">
            <a:xfrm>
              <a:off x="3346607" y="4189235"/>
              <a:ext cx="838782" cy="794656"/>
            </a:xfrm>
            <a:prstGeom prst="roundRect">
              <a:avLst/>
            </a:prstGeom>
            <a:solidFill>
              <a:srgbClr val="00B0F0"/>
            </a:solidFill>
            <a:ln>
              <a:noFill/>
            </a:ln>
          </p:spPr>
          <p:txBody>
            <a:bodyPr vert="horz" wrap="square" lIns="91440" tIns="45720" rIns="91440" bIns="45720" numCol="1" anchor="ctr" anchorCtr="0" compatLnSpc="1">
              <a:prstTxWarp prst="textNoShape">
                <a:avLst/>
              </a:prstTxWarp>
            </a:bodyPr>
            <a:lstStyle/>
            <a:p>
              <a:r>
                <a:rPr lang="en-IN" sz="1000" smtClean="0">
                  <a:solidFill>
                    <a:schemeClr val="bg1"/>
                  </a:solidFill>
                </a:rPr>
                <a:t>Deer, 1</a:t>
              </a:r>
            </a:p>
            <a:p>
              <a:r>
                <a:rPr lang="en-IN" sz="1000" smtClean="0">
                  <a:solidFill>
                    <a:schemeClr val="bg1"/>
                  </a:solidFill>
                </a:rPr>
                <a:t>Car, 1</a:t>
              </a:r>
            </a:p>
            <a:p>
              <a:r>
                <a:rPr lang="en-IN" sz="1000" smtClean="0">
                  <a:solidFill>
                    <a:schemeClr val="bg1"/>
                  </a:solidFill>
                </a:rPr>
                <a:t>Bear, 1</a:t>
              </a:r>
              <a:endParaRPr lang="en-IN" sz="1000">
                <a:solidFill>
                  <a:schemeClr val="bg1"/>
                </a:solidFill>
              </a:endParaRPr>
            </a:p>
          </p:txBody>
        </p:sp>
        <p:sp>
          <p:nvSpPr>
            <p:cNvPr id="12" name="Freeform 9"/>
            <p:cNvSpPr>
              <a:spLocks/>
            </p:cNvSpPr>
            <p:nvPr>
              <p:custDataLst>
                <p:tags r:id="rId8"/>
              </p:custDataLst>
            </p:nvPr>
          </p:nvSpPr>
          <p:spPr bwMode="gray">
            <a:xfrm>
              <a:off x="4739477" y="1847280"/>
              <a:ext cx="838782" cy="374924"/>
            </a:xfrm>
            <a:prstGeom prst="roundRect">
              <a:avLst/>
            </a:prstGeom>
            <a:solidFill>
              <a:schemeClr val="accent6">
                <a:lumMod val="75000"/>
              </a:schemeClr>
            </a:solidFill>
            <a:ln>
              <a:noFill/>
            </a:ln>
          </p:spPr>
          <p:txBody>
            <a:bodyPr vert="horz" wrap="square" lIns="91440" tIns="45720" rIns="91440" bIns="45720" numCol="1" anchor="ctr" anchorCtr="0" compatLnSpc="1">
              <a:prstTxWarp prst="textNoShape">
                <a:avLst/>
              </a:prstTxWarp>
            </a:bodyPr>
            <a:lstStyle/>
            <a:p>
              <a:r>
                <a:rPr lang="en-IN" sz="1000" smtClean="0">
                  <a:solidFill>
                    <a:schemeClr val="bg1"/>
                  </a:solidFill>
                </a:rPr>
                <a:t>Bear, (1,1)</a:t>
              </a:r>
              <a:endParaRPr lang="en-IN" sz="1000">
                <a:solidFill>
                  <a:schemeClr val="bg1"/>
                </a:solidFill>
              </a:endParaRPr>
            </a:p>
          </p:txBody>
        </p:sp>
        <p:sp>
          <p:nvSpPr>
            <p:cNvPr id="13" name="Freeform 9"/>
            <p:cNvSpPr>
              <a:spLocks/>
            </p:cNvSpPr>
            <p:nvPr>
              <p:custDataLst>
                <p:tags r:id="rId9"/>
              </p:custDataLst>
            </p:nvPr>
          </p:nvSpPr>
          <p:spPr bwMode="gray">
            <a:xfrm>
              <a:off x="4739477" y="2775857"/>
              <a:ext cx="838782" cy="374924"/>
            </a:xfrm>
            <a:prstGeom prst="roundRect">
              <a:avLst/>
            </a:prstGeom>
            <a:solidFill>
              <a:schemeClr val="accent6">
                <a:lumMod val="75000"/>
              </a:schemeClr>
            </a:solidFill>
            <a:ln>
              <a:noFill/>
            </a:ln>
          </p:spPr>
          <p:txBody>
            <a:bodyPr vert="horz" wrap="square" lIns="91440" tIns="45720" rIns="91440" bIns="45720" numCol="1" anchor="ctr" anchorCtr="0" compatLnSpc="1">
              <a:prstTxWarp prst="textNoShape">
                <a:avLst/>
              </a:prstTxWarp>
            </a:bodyPr>
            <a:lstStyle/>
            <a:p>
              <a:r>
                <a:rPr lang="en-IN" sz="1000" smtClean="0">
                  <a:solidFill>
                    <a:schemeClr val="bg1"/>
                  </a:solidFill>
                </a:rPr>
                <a:t>Car, (1,1,1)</a:t>
              </a:r>
              <a:endParaRPr lang="en-IN" sz="1000">
                <a:solidFill>
                  <a:schemeClr val="bg1"/>
                </a:solidFill>
              </a:endParaRPr>
            </a:p>
          </p:txBody>
        </p:sp>
        <p:sp>
          <p:nvSpPr>
            <p:cNvPr id="14" name="Freeform 9"/>
            <p:cNvSpPr>
              <a:spLocks/>
            </p:cNvSpPr>
            <p:nvPr>
              <p:custDataLst>
                <p:tags r:id="rId10"/>
              </p:custDataLst>
            </p:nvPr>
          </p:nvSpPr>
          <p:spPr bwMode="gray">
            <a:xfrm>
              <a:off x="4739477" y="3704434"/>
              <a:ext cx="838782" cy="374924"/>
            </a:xfrm>
            <a:prstGeom prst="roundRect">
              <a:avLst/>
            </a:prstGeom>
            <a:solidFill>
              <a:schemeClr val="accent6">
                <a:lumMod val="75000"/>
              </a:schemeClr>
            </a:solidFill>
            <a:ln>
              <a:noFill/>
            </a:ln>
          </p:spPr>
          <p:txBody>
            <a:bodyPr vert="horz" wrap="square" lIns="91440" tIns="45720" rIns="91440" bIns="45720" numCol="1" anchor="ctr" anchorCtr="0" compatLnSpc="1">
              <a:prstTxWarp prst="textNoShape">
                <a:avLst/>
              </a:prstTxWarp>
            </a:bodyPr>
            <a:lstStyle/>
            <a:p>
              <a:r>
                <a:rPr lang="en-IN" sz="1000" smtClean="0">
                  <a:solidFill>
                    <a:schemeClr val="bg1"/>
                  </a:solidFill>
                </a:rPr>
                <a:t>Deer, (1,1)</a:t>
              </a:r>
              <a:endParaRPr lang="en-IN" sz="1000">
                <a:solidFill>
                  <a:schemeClr val="bg1"/>
                </a:solidFill>
              </a:endParaRPr>
            </a:p>
          </p:txBody>
        </p:sp>
        <p:sp>
          <p:nvSpPr>
            <p:cNvPr id="15" name="Freeform 9"/>
            <p:cNvSpPr>
              <a:spLocks/>
            </p:cNvSpPr>
            <p:nvPr>
              <p:custDataLst>
                <p:tags r:id="rId11"/>
              </p:custDataLst>
            </p:nvPr>
          </p:nvSpPr>
          <p:spPr bwMode="gray">
            <a:xfrm>
              <a:off x="4739477" y="4633010"/>
              <a:ext cx="838782" cy="374924"/>
            </a:xfrm>
            <a:prstGeom prst="roundRect">
              <a:avLst/>
            </a:prstGeom>
            <a:solidFill>
              <a:schemeClr val="accent6">
                <a:lumMod val="75000"/>
              </a:schemeClr>
            </a:solidFill>
            <a:ln>
              <a:noFill/>
            </a:ln>
          </p:spPr>
          <p:txBody>
            <a:bodyPr vert="horz" wrap="square" lIns="91440" tIns="45720" rIns="91440" bIns="45720" numCol="1" anchor="ctr" anchorCtr="0" compatLnSpc="1">
              <a:prstTxWarp prst="textNoShape">
                <a:avLst/>
              </a:prstTxWarp>
            </a:bodyPr>
            <a:lstStyle/>
            <a:p>
              <a:r>
                <a:rPr lang="en-IN" sz="1000" smtClean="0">
                  <a:solidFill>
                    <a:schemeClr val="bg1"/>
                  </a:solidFill>
                </a:rPr>
                <a:t>River, (1,1)</a:t>
              </a:r>
              <a:endParaRPr lang="en-IN" sz="1000">
                <a:solidFill>
                  <a:schemeClr val="bg1"/>
                </a:solidFill>
              </a:endParaRPr>
            </a:p>
          </p:txBody>
        </p:sp>
        <p:sp>
          <p:nvSpPr>
            <p:cNvPr id="16" name="Freeform 9"/>
            <p:cNvSpPr>
              <a:spLocks/>
            </p:cNvSpPr>
            <p:nvPr>
              <p:custDataLst>
                <p:tags r:id="rId12"/>
              </p:custDataLst>
            </p:nvPr>
          </p:nvSpPr>
          <p:spPr bwMode="gray">
            <a:xfrm>
              <a:off x="5972849" y="1847280"/>
              <a:ext cx="838782" cy="374924"/>
            </a:xfrm>
            <a:prstGeom prst="roundRect">
              <a:avLst/>
            </a:prstGeom>
            <a:solidFill>
              <a:schemeClr val="accent2"/>
            </a:solidFill>
            <a:ln>
              <a:noFill/>
            </a:ln>
          </p:spPr>
          <p:txBody>
            <a:bodyPr vert="horz" wrap="square" lIns="91440" tIns="45720" rIns="91440" bIns="45720" numCol="1" anchor="ctr" anchorCtr="0" compatLnSpc="1">
              <a:prstTxWarp prst="textNoShape">
                <a:avLst/>
              </a:prstTxWarp>
            </a:bodyPr>
            <a:lstStyle/>
            <a:p>
              <a:r>
                <a:rPr lang="en-IN" sz="1000" smtClean="0">
                  <a:solidFill>
                    <a:schemeClr val="bg1"/>
                  </a:solidFill>
                </a:rPr>
                <a:t>Combiner</a:t>
              </a:r>
              <a:endParaRPr lang="en-IN" sz="1000">
                <a:solidFill>
                  <a:schemeClr val="bg1"/>
                </a:solidFill>
              </a:endParaRPr>
            </a:p>
          </p:txBody>
        </p:sp>
        <p:sp>
          <p:nvSpPr>
            <p:cNvPr id="17" name="Freeform 9"/>
            <p:cNvSpPr>
              <a:spLocks/>
            </p:cNvSpPr>
            <p:nvPr>
              <p:custDataLst>
                <p:tags r:id="rId13"/>
              </p:custDataLst>
            </p:nvPr>
          </p:nvSpPr>
          <p:spPr bwMode="gray">
            <a:xfrm>
              <a:off x="5972849" y="2775857"/>
              <a:ext cx="838782" cy="374924"/>
            </a:xfrm>
            <a:prstGeom prst="roundRect">
              <a:avLst/>
            </a:prstGeom>
            <a:solidFill>
              <a:schemeClr val="accent2"/>
            </a:solidFill>
            <a:ln>
              <a:noFill/>
            </a:ln>
          </p:spPr>
          <p:txBody>
            <a:bodyPr vert="horz" wrap="square" lIns="91440" tIns="45720" rIns="91440" bIns="45720" numCol="1" anchor="ctr" anchorCtr="0" compatLnSpc="1">
              <a:prstTxWarp prst="textNoShape">
                <a:avLst/>
              </a:prstTxWarp>
            </a:bodyPr>
            <a:lstStyle/>
            <a:p>
              <a:r>
                <a:rPr lang="en-IN" sz="1000" smtClean="0">
                  <a:solidFill>
                    <a:schemeClr val="bg1"/>
                  </a:solidFill>
                </a:rPr>
                <a:t>Combiner</a:t>
              </a:r>
              <a:endParaRPr lang="en-IN" sz="1000">
                <a:solidFill>
                  <a:schemeClr val="bg1"/>
                </a:solidFill>
              </a:endParaRPr>
            </a:p>
          </p:txBody>
        </p:sp>
        <p:sp>
          <p:nvSpPr>
            <p:cNvPr id="18" name="Freeform 9"/>
            <p:cNvSpPr>
              <a:spLocks/>
            </p:cNvSpPr>
            <p:nvPr>
              <p:custDataLst>
                <p:tags r:id="rId14"/>
              </p:custDataLst>
            </p:nvPr>
          </p:nvSpPr>
          <p:spPr bwMode="gray">
            <a:xfrm>
              <a:off x="5972849" y="3704434"/>
              <a:ext cx="838782" cy="374924"/>
            </a:xfrm>
            <a:prstGeom prst="roundRect">
              <a:avLst/>
            </a:prstGeom>
            <a:solidFill>
              <a:schemeClr val="accent2"/>
            </a:solidFill>
            <a:ln>
              <a:noFill/>
            </a:ln>
          </p:spPr>
          <p:txBody>
            <a:bodyPr vert="horz" wrap="square" lIns="91440" tIns="45720" rIns="91440" bIns="45720" numCol="1" anchor="ctr" anchorCtr="0" compatLnSpc="1">
              <a:prstTxWarp prst="textNoShape">
                <a:avLst/>
              </a:prstTxWarp>
            </a:bodyPr>
            <a:lstStyle/>
            <a:p>
              <a:r>
                <a:rPr lang="en-IN" sz="1000" smtClean="0">
                  <a:solidFill>
                    <a:schemeClr val="bg1"/>
                  </a:solidFill>
                </a:rPr>
                <a:t>Combiner</a:t>
              </a:r>
              <a:endParaRPr lang="en-IN" sz="1000">
                <a:solidFill>
                  <a:schemeClr val="bg1"/>
                </a:solidFill>
              </a:endParaRPr>
            </a:p>
          </p:txBody>
        </p:sp>
        <p:sp>
          <p:nvSpPr>
            <p:cNvPr id="19" name="Freeform 9"/>
            <p:cNvSpPr>
              <a:spLocks/>
            </p:cNvSpPr>
            <p:nvPr>
              <p:custDataLst>
                <p:tags r:id="rId15"/>
              </p:custDataLst>
            </p:nvPr>
          </p:nvSpPr>
          <p:spPr bwMode="gray">
            <a:xfrm>
              <a:off x="5972849" y="4633010"/>
              <a:ext cx="838782" cy="374924"/>
            </a:xfrm>
            <a:prstGeom prst="roundRect">
              <a:avLst/>
            </a:prstGeom>
            <a:solidFill>
              <a:schemeClr val="accent2"/>
            </a:solidFill>
            <a:ln>
              <a:noFill/>
            </a:ln>
          </p:spPr>
          <p:txBody>
            <a:bodyPr vert="horz" wrap="square" lIns="91440" tIns="45720" rIns="91440" bIns="45720" numCol="1" anchor="ctr" anchorCtr="0" compatLnSpc="1">
              <a:prstTxWarp prst="textNoShape">
                <a:avLst/>
              </a:prstTxWarp>
            </a:bodyPr>
            <a:lstStyle/>
            <a:p>
              <a:r>
                <a:rPr lang="en-IN" sz="1000" smtClean="0">
                  <a:solidFill>
                    <a:schemeClr val="bg1"/>
                  </a:solidFill>
                </a:rPr>
                <a:t>Combiner</a:t>
              </a:r>
              <a:endParaRPr lang="en-IN" sz="1000">
                <a:solidFill>
                  <a:schemeClr val="bg1"/>
                </a:solidFill>
              </a:endParaRPr>
            </a:p>
          </p:txBody>
        </p:sp>
        <p:sp>
          <p:nvSpPr>
            <p:cNvPr id="20" name="Freeform 21"/>
            <p:cNvSpPr>
              <a:spLocks/>
            </p:cNvSpPr>
            <p:nvPr>
              <p:custDataLst>
                <p:tags r:id="rId16"/>
              </p:custDataLst>
            </p:nvPr>
          </p:nvSpPr>
          <p:spPr bwMode="gray">
            <a:xfrm>
              <a:off x="7505995" y="2987548"/>
              <a:ext cx="1182586" cy="983074"/>
            </a:xfrm>
            <a:prstGeom prst="roundRect">
              <a:avLst/>
            </a:pr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r>
                <a:rPr lang="en-IN" sz="1000">
                  <a:solidFill>
                    <a:schemeClr val="bg1"/>
                  </a:solidFill>
                </a:rPr>
                <a:t>Bear, 2</a:t>
              </a:r>
            </a:p>
            <a:p>
              <a:r>
                <a:rPr lang="en-IN" sz="1000">
                  <a:solidFill>
                    <a:schemeClr val="bg1"/>
                  </a:solidFill>
                </a:rPr>
                <a:t>Car, 3</a:t>
              </a:r>
            </a:p>
            <a:p>
              <a:r>
                <a:rPr lang="en-IN" sz="1000">
                  <a:solidFill>
                    <a:schemeClr val="bg1"/>
                  </a:solidFill>
                </a:rPr>
                <a:t>Deer, 2</a:t>
              </a:r>
            </a:p>
            <a:p>
              <a:r>
                <a:rPr lang="en-IN" sz="1000">
                  <a:solidFill>
                    <a:schemeClr val="bg1"/>
                  </a:solidFill>
                </a:rPr>
                <a:t>River, 2</a:t>
              </a:r>
            </a:p>
          </p:txBody>
        </p:sp>
        <p:cxnSp>
          <p:nvCxnSpPr>
            <p:cNvPr id="21" name="Straight Arrow Connector 20"/>
            <p:cNvCxnSpPr>
              <a:stCxn id="7" idx="3"/>
              <a:endCxn id="5" idx="1"/>
            </p:cNvCxnSpPr>
            <p:nvPr>
              <p:custDataLst>
                <p:tags r:id="rId17"/>
              </p:custDataLst>
            </p:nvPr>
          </p:nvCxnSpPr>
          <p:spPr bwMode="gray">
            <a:xfrm flipV="1">
              <a:off x="1766786" y="2449413"/>
              <a:ext cx="360954" cy="1029672"/>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3"/>
              <a:endCxn id="6" idx="1"/>
            </p:cNvCxnSpPr>
            <p:nvPr>
              <p:custDataLst>
                <p:tags r:id="rId18"/>
              </p:custDataLst>
            </p:nvPr>
          </p:nvCxnSpPr>
          <p:spPr bwMode="gray">
            <a:xfrm flipV="1">
              <a:off x="3030280" y="2449412"/>
              <a:ext cx="316327" cy="1"/>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7" idx="3"/>
              <a:endCxn id="8" idx="1"/>
            </p:cNvCxnSpPr>
            <p:nvPr>
              <p:custDataLst>
                <p:tags r:id="rId19"/>
              </p:custDataLst>
            </p:nvPr>
          </p:nvCxnSpPr>
          <p:spPr bwMode="gray">
            <a:xfrm>
              <a:off x="1766786" y="3479085"/>
              <a:ext cx="360954" cy="1107479"/>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9" idx="3"/>
              <a:endCxn id="10" idx="1"/>
            </p:cNvCxnSpPr>
            <p:nvPr>
              <p:custDataLst>
                <p:tags r:id="rId20"/>
              </p:custDataLst>
            </p:nvPr>
          </p:nvCxnSpPr>
          <p:spPr bwMode="gray">
            <a:xfrm flipV="1">
              <a:off x="3030280" y="3480772"/>
              <a:ext cx="316327" cy="1"/>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8" idx="3"/>
              <a:endCxn id="11" idx="1"/>
            </p:cNvCxnSpPr>
            <p:nvPr>
              <p:custDataLst>
                <p:tags r:id="rId21"/>
              </p:custDataLst>
            </p:nvPr>
          </p:nvCxnSpPr>
          <p:spPr bwMode="gray">
            <a:xfrm flipV="1">
              <a:off x="3030280" y="4586563"/>
              <a:ext cx="316327" cy="1"/>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12" idx="3"/>
              <a:endCxn id="16" idx="1"/>
            </p:cNvCxnSpPr>
            <p:nvPr>
              <p:custDataLst>
                <p:tags r:id="rId22"/>
              </p:custDataLst>
            </p:nvPr>
          </p:nvCxnSpPr>
          <p:spPr bwMode="gray">
            <a:xfrm>
              <a:off x="5578259" y="2034742"/>
              <a:ext cx="394590" cy="0"/>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3" idx="3"/>
              <a:endCxn id="17" idx="1"/>
            </p:cNvCxnSpPr>
            <p:nvPr>
              <p:custDataLst>
                <p:tags r:id="rId23"/>
              </p:custDataLst>
            </p:nvPr>
          </p:nvCxnSpPr>
          <p:spPr bwMode="gray">
            <a:xfrm>
              <a:off x="5578259" y="2963319"/>
              <a:ext cx="394590" cy="0"/>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14" idx="3"/>
              <a:endCxn id="18" idx="1"/>
            </p:cNvCxnSpPr>
            <p:nvPr>
              <p:custDataLst>
                <p:tags r:id="rId24"/>
              </p:custDataLst>
            </p:nvPr>
          </p:nvCxnSpPr>
          <p:spPr bwMode="gray">
            <a:xfrm>
              <a:off x="5578259" y="3891896"/>
              <a:ext cx="394590" cy="0"/>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15" idx="3"/>
              <a:endCxn id="19" idx="1"/>
            </p:cNvCxnSpPr>
            <p:nvPr>
              <p:custDataLst>
                <p:tags r:id="rId25"/>
              </p:custDataLst>
            </p:nvPr>
          </p:nvCxnSpPr>
          <p:spPr bwMode="gray">
            <a:xfrm>
              <a:off x="5578259" y="4820472"/>
              <a:ext cx="394590" cy="0"/>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16" idx="3"/>
              <a:endCxn id="20" idx="1"/>
            </p:cNvCxnSpPr>
            <p:nvPr>
              <p:custDataLst>
                <p:tags r:id="rId26"/>
              </p:custDataLst>
            </p:nvPr>
          </p:nvCxnSpPr>
          <p:spPr bwMode="gray">
            <a:xfrm>
              <a:off x="6811631" y="2034742"/>
              <a:ext cx="694364" cy="1444343"/>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7" idx="3"/>
              <a:endCxn id="20" idx="1"/>
            </p:cNvCxnSpPr>
            <p:nvPr>
              <p:custDataLst>
                <p:tags r:id="rId27"/>
              </p:custDataLst>
            </p:nvPr>
          </p:nvCxnSpPr>
          <p:spPr bwMode="gray">
            <a:xfrm>
              <a:off x="6811631" y="2963319"/>
              <a:ext cx="694364" cy="515766"/>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18" idx="3"/>
              <a:endCxn id="20" idx="1"/>
            </p:cNvCxnSpPr>
            <p:nvPr>
              <p:custDataLst>
                <p:tags r:id="rId28"/>
              </p:custDataLst>
            </p:nvPr>
          </p:nvCxnSpPr>
          <p:spPr bwMode="gray">
            <a:xfrm flipV="1">
              <a:off x="6811631" y="3479085"/>
              <a:ext cx="694364" cy="412811"/>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9" idx="3"/>
              <a:endCxn id="20" idx="1"/>
            </p:cNvCxnSpPr>
            <p:nvPr>
              <p:custDataLst>
                <p:tags r:id="rId29"/>
              </p:custDataLst>
            </p:nvPr>
          </p:nvCxnSpPr>
          <p:spPr bwMode="gray">
            <a:xfrm flipV="1">
              <a:off x="6811631" y="3479085"/>
              <a:ext cx="694364" cy="1341387"/>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6" idx="3"/>
              <a:endCxn id="12" idx="1"/>
            </p:cNvCxnSpPr>
            <p:nvPr>
              <p:custDataLst>
                <p:tags r:id="rId30"/>
              </p:custDataLst>
            </p:nvPr>
          </p:nvCxnSpPr>
          <p:spPr bwMode="gray">
            <a:xfrm flipV="1">
              <a:off x="4185389" y="2034742"/>
              <a:ext cx="554088" cy="414670"/>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6" idx="3"/>
              <a:endCxn id="14" idx="1"/>
            </p:cNvCxnSpPr>
            <p:nvPr>
              <p:custDataLst>
                <p:tags r:id="rId31"/>
              </p:custDataLst>
            </p:nvPr>
          </p:nvCxnSpPr>
          <p:spPr bwMode="gray">
            <a:xfrm>
              <a:off x="4185389" y="2449412"/>
              <a:ext cx="554088" cy="1442484"/>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6" idx="3"/>
              <a:endCxn id="15" idx="1"/>
            </p:cNvCxnSpPr>
            <p:nvPr>
              <p:custDataLst>
                <p:tags r:id="rId32"/>
              </p:custDataLst>
            </p:nvPr>
          </p:nvCxnSpPr>
          <p:spPr bwMode="gray">
            <a:xfrm>
              <a:off x="4185389" y="2449412"/>
              <a:ext cx="554088" cy="2371060"/>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10" idx="3"/>
            </p:cNvCxnSpPr>
            <p:nvPr>
              <p:custDataLst>
                <p:tags r:id="rId33"/>
              </p:custDataLst>
            </p:nvPr>
          </p:nvCxnSpPr>
          <p:spPr bwMode="gray">
            <a:xfrm flipV="1">
              <a:off x="4185389" y="2828260"/>
              <a:ext cx="524834" cy="652512"/>
            </a:xfrm>
            <a:prstGeom prst="straightConnector1">
              <a:avLst/>
            </a:prstGeom>
            <a:ln w="12700">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custDataLst>
                <p:tags r:id="rId34"/>
              </p:custDataLst>
            </p:nvPr>
          </p:nvCxnSpPr>
          <p:spPr bwMode="gray">
            <a:xfrm flipV="1">
              <a:off x="4206654" y="2934586"/>
              <a:ext cx="524834" cy="652512"/>
            </a:xfrm>
            <a:prstGeom prst="straightConnector1">
              <a:avLst/>
            </a:prstGeom>
            <a:ln w="12700">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custDataLst>
                <p:tags r:id="rId35"/>
              </p:custDataLst>
            </p:nvPr>
          </p:nvCxnSpPr>
          <p:spPr bwMode="gray">
            <a:xfrm>
              <a:off x="4185389" y="3714689"/>
              <a:ext cx="546099" cy="1240083"/>
            </a:xfrm>
            <a:prstGeom prst="straightConnector1">
              <a:avLst/>
            </a:prstGeom>
            <a:ln w="12700">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endCxn id="12" idx="1"/>
            </p:cNvCxnSpPr>
            <p:nvPr>
              <p:custDataLst>
                <p:tags r:id="rId36"/>
              </p:custDataLst>
            </p:nvPr>
          </p:nvCxnSpPr>
          <p:spPr bwMode="gray">
            <a:xfrm flipV="1">
              <a:off x="4196022" y="2034742"/>
              <a:ext cx="543455" cy="2381696"/>
            </a:xfrm>
            <a:prstGeom prst="straightConnector1">
              <a:avLst/>
            </a:prstGeom>
            <a:ln w="12700">
              <a:solidFill>
                <a:srgbClr val="00206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custDataLst>
                <p:tags r:id="rId37"/>
              </p:custDataLst>
            </p:nvPr>
          </p:nvCxnSpPr>
          <p:spPr bwMode="gray">
            <a:xfrm flipV="1">
              <a:off x="4196022" y="3104707"/>
              <a:ext cx="535466" cy="1545647"/>
            </a:xfrm>
            <a:prstGeom prst="straightConnector1">
              <a:avLst/>
            </a:prstGeom>
            <a:ln w="12700">
              <a:solidFill>
                <a:srgbClr val="00206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custDataLst>
                <p:tags r:id="rId38"/>
              </p:custDataLst>
            </p:nvPr>
          </p:nvCxnSpPr>
          <p:spPr bwMode="gray">
            <a:xfrm flipV="1">
              <a:off x="4174757" y="4051005"/>
              <a:ext cx="577996" cy="758838"/>
            </a:xfrm>
            <a:prstGeom prst="straightConnector1">
              <a:avLst/>
            </a:prstGeom>
            <a:ln w="12700">
              <a:solidFill>
                <a:srgbClr val="00206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7" name="Rectangle 86"/>
            <p:cNvSpPr/>
            <p:nvPr/>
          </p:nvSpPr>
          <p:spPr bwMode="gray">
            <a:xfrm>
              <a:off x="605841" y="958325"/>
              <a:ext cx="641521" cy="338554"/>
            </a:xfrm>
            <a:prstGeom prst="rect">
              <a:avLst/>
            </a:prstGeom>
          </p:spPr>
          <p:txBody>
            <a:bodyPr wrap="none">
              <a:spAutoFit/>
            </a:bodyPr>
            <a:lstStyle/>
            <a:p>
              <a:pPr algn="ctr"/>
              <a:r>
                <a:rPr lang="en-US" sz="1600" b="1" smtClean="0">
                  <a:solidFill>
                    <a:schemeClr val="tx2"/>
                  </a:solidFill>
                </a:rPr>
                <a:t>Input</a:t>
              </a:r>
              <a:endParaRPr lang="en-IN" sz="1600" b="1">
                <a:solidFill>
                  <a:schemeClr val="tx2"/>
                </a:solidFill>
              </a:endParaRPr>
            </a:p>
          </p:txBody>
        </p:sp>
        <p:sp>
          <p:nvSpPr>
            <p:cNvPr id="88" name="Rectangle 87"/>
            <p:cNvSpPr/>
            <p:nvPr/>
          </p:nvSpPr>
          <p:spPr bwMode="gray">
            <a:xfrm>
              <a:off x="2140704" y="958325"/>
              <a:ext cx="889154" cy="338554"/>
            </a:xfrm>
            <a:prstGeom prst="rect">
              <a:avLst/>
            </a:prstGeom>
          </p:spPr>
          <p:txBody>
            <a:bodyPr wrap="none">
              <a:spAutoFit/>
            </a:bodyPr>
            <a:lstStyle/>
            <a:p>
              <a:pPr algn="ctr"/>
              <a:r>
                <a:rPr lang="en-US" sz="1600" b="1" smtClean="0">
                  <a:solidFill>
                    <a:schemeClr val="tx2"/>
                  </a:solidFill>
                </a:rPr>
                <a:t>Splitting</a:t>
              </a:r>
              <a:endParaRPr lang="en-IN" sz="1600" b="1">
                <a:solidFill>
                  <a:schemeClr val="tx2"/>
                </a:solidFill>
              </a:endParaRPr>
            </a:p>
          </p:txBody>
        </p:sp>
        <p:sp>
          <p:nvSpPr>
            <p:cNvPr id="89" name="Rectangle 88"/>
            <p:cNvSpPr/>
            <p:nvPr/>
          </p:nvSpPr>
          <p:spPr bwMode="gray">
            <a:xfrm>
              <a:off x="3229455" y="958325"/>
              <a:ext cx="944489" cy="338554"/>
            </a:xfrm>
            <a:prstGeom prst="rect">
              <a:avLst/>
            </a:prstGeom>
          </p:spPr>
          <p:txBody>
            <a:bodyPr wrap="none">
              <a:spAutoFit/>
            </a:bodyPr>
            <a:lstStyle/>
            <a:p>
              <a:pPr algn="ctr"/>
              <a:r>
                <a:rPr lang="en-US" sz="1600" b="1" smtClean="0">
                  <a:solidFill>
                    <a:schemeClr val="tx2"/>
                  </a:solidFill>
                </a:rPr>
                <a:t>Mapping</a:t>
              </a:r>
              <a:endParaRPr lang="en-IN" sz="1600" b="1">
                <a:solidFill>
                  <a:schemeClr val="tx2"/>
                </a:solidFill>
              </a:endParaRPr>
            </a:p>
          </p:txBody>
        </p:sp>
        <p:sp>
          <p:nvSpPr>
            <p:cNvPr id="90" name="Rectangle 89"/>
            <p:cNvSpPr/>
            <p:nvPr/>
          </p:nvSpPr>
          <p:spPr bwMode="gray">
            <a:xfrm>
              <a:off x="4453002" y="958325"/>
              <a:ext cx="942887" cy="338554"/>
            </a:xfrm>
            <a:prstGeom prst="rect">
              <a:avLst/>
            </a:prstGeom>
          </p:spPr>
          <p:txBody>
            <a:bodyPr wrap="none">
              <a:spAutoFit/>
            </a:bodyPr>
            <a:lstStyle/>
            <a:p>
              <a:pPr algn="ctr"/>
              <a:r>
                <a:rPr lang="en-US" sz="1600" b="1" smtClean="0">
                  <a:solidFill>
                    <a:schemeClr val="tx2"/>
                  </a:solidFill>
                </a:rPr>
                <a:t>Shuffling</a:t>
              </a:r>
              <a:endParaRPr lang="en-IN" sz="1600" b="1">
                <a:solidFill>
                  <a:schemeClr val="tx2"/>
                </a:solidFill>
              </a:endParaRPr>
            </a:p>
          </p:txBody>
        </p:sp>
        <p:sp>
          <p:nvSpPr>
            <p:cNvPr id="91" name="Rectangle 90"/>
            <p:cNvSpPr/>
            <p:nvPr/>
          </p:nvSpPr>
          <p:spPr bwMode="gray">
            <a:xfrm>
              <a:off x="5877081" y="958325"/>
              <a:ext cx="965522" cy="338554"/>
            </a:xfrm>
            <a:prstGeom prst="rect">
              <a:avLst/>
            </a:prstGeom>
          </p:spPr>
          <p:txBody>
            <a:bodyPr wrap="none">
              <a:spAutoFit/>
            </a:bodyPr>
            <a:lstStyle/>
            <a:p>
              <a:pPr algn="ctr"/>
              <a:r>
                <a:rPr lang="en-US" sz="1600" b="1" smtClean="0">
                  <a:solidFill>
                    <a:schemeClr val="tx2"/>
                  </a:solidFill>
                </a:rPr>
                <a:t>Reducing</a:t>
              </a:r>
              <a:endParaRPr lang="en-IN" sz="1600" b="1">
                <a:solidFill>
                  <a:schemeClr val="tx2"/>
                </a:solidFill>
              </a:endParaRPr>
            </a:p>
          </p:txBody>
        </p:sp>
        <p:sp>
          <p:nvSpPr>
            <p:cNvPr id="92" name="Rectangle 91"/>
            <p:cNvSpPr/>
            <p:nvPr/>
          </p:nvSpPr>
          <p:spPr bwMode="gray">
            <a:xfrm>
              <a:off x="7393847" y="958325"/>
              <a:ext cx="1164293" cy="338554"/>
            </a:xfrm>
            <a:prstGeom prst="rect">
              <a:avLst/>
            </a:prstGeom>
          </p:spPr>
          <p:txBody>
            <a:bodyPr wrap="none">
              <a:spAutoFit/>
            </a:bodyPr>
            <a:lstStyle/>
            <a:p>
              <a:pPr algn="ctr"/>
              <a:r>
                <a:rPr lang="en-US" sz="1600" b="1" smtClean="0">
                  <a:solidFill>
                    <a:schemeClr val="tx2"/>
                  </a:solidFill>
                </a:rPr>
                <a:t>Final Result</a:t>
              </a:r>
              <a:endParaRPr lang="en-IN" sz="1600" b="1">
                <a:solidFill>
                  <a:schemeClr val="tx2"/>
                </a:solidFill>
              </a:endParaRPr>
            </a:p>
          </p:txBody>
        </p:sp>
        <p:sp>
          <p:nvSpPr>
            <p:cNvPr id="93" name="Rectangle 92"/>
            <p:cNvSpPr/>
            <p:nvPr/>
          </p:nvSpPr>
          <p:spPr bwMode="gray">
            <a:xfrm>
              <a:off x="2334131" y="1798297"/>
              <a:ext cx="608628" cy="307777"/>
            </a:xfrm>
            <a:prstGeom prst="rect">
              <a:avLst/>
            </a:prstGeom>
          </p:spPr>
          <p:txBody>
            <a:bodyPr wrap="none">
              <a:spAutoFit/>
            </a:bodyPr>
            <a:lstStyle/>
            <a:p>
              <a:pPr algn="ctr"/>
              <a:r>
                <a:rPr lang="en-US" sz="1400" b="1" smtClean="0">
                  <a:solidFill>
                    <a:srgbClr val="0070C0"/>
                  </a:solidFill>
                </a:rPr>
                <a:t>K1,V1</a:t>
              </a:r>
              <a:endParaRPr lang="en-IN" sz="1400" b="1">
                <a:solidFill>
                  <a:srgbClr val="0070C0"/>
                </a:solidFill>
              </a:endParaRPr>
            </a:p>
          </p:txBody>
        </p:sp>
        <p:sp>
          <p:nvSpPr>
            <p:cNvPr id="94" name="Rectangle 93"/>
            <p:cNvSpPr/>
            <p:nvPr/>
          </p:nvSpPr>
          <p:spPr bwMode="gray">
            <a:xfrm>
              <a:off x="4595103" y="1521850"/>
              <a:ext cx="1062727" cy="307777"/>
            </a:xfrm>
            <a:prstGeom prst="rect">
              <a:avLst/>
            </a:prstGeom>
          </p:spPr>
          <p:txBody>
            <a:bodyPr wrap="none">
              <a:spAutoFit/>
            </a:bodyPr>
            <a:lstStyle/>
            <a:p>
              <a:pPr algn="ctr"/>
              <a:r>
                <a:rPr lang="en-US" sz="1400" b="1" smtClean="0">
                  <a:solidFill>
                    <a:srgbClr val="0070C0"/>
                  </a:solidFill>
                </a:rPr>
                <a:t>K2, List (V2)</a:t>
              </a:r>
              <a:endParaRPr lang="en-IN" sz="1400" b="1">
                <a:solidFill>
                  <a:srgbClr val="0070C0"/>
                </a:solidFill>
              </a:endParaRPr>
            </a:p>
          </p:txBody>
        </p:sp>
        <p:sp>
          <p:nvSpPr>
            <p:cNvPr id="99" name="Rectangle 98"/>
            <p:cNvSpPr/>
            <p:nvPr/>
          </p:nvSpPr>
          <p:spPr bwMode="gray">
            <a:xfrm>
              <a:off x="3244771" y="1734501"/>
              <a:ext cx="1062727" cy="307777"/>
            </a:xfrm>
            <a:prstGeom prst="rect">
              <a:avLst/>
            </a:prstGeom>
          </p:spPr>
          <p:txBody>
            <a:bodyPr wrap="none">
              <a:spAutoFit/>
            </a:bodyPr>
            <a:lstStyle/>
            <a:p>
              <a:pPr algn="ctr"/>
              <a:r>
                <a:rPr lang="en-US" sz="1400" b="1" smtClean="0">
                  <a:solidFill>
                    <a:srgbClr val="0070C0"/>
                  </a:solidFill>
                </a:rPr>
                <a:t>List (K2, V2)</a:t>
              </a:r>
              <a:endParaRPr lang="en-IN" sz="1400" b="1">
                <a:solidFill>
                  <a:srgbClr val="0070C0"/>
                </a:solidFill>
              </a:endParaRPr>
            </a:p>
          </p:txBody>
        </p:sp>
        <p:sp>
          <p:nvSpPr>
            <p:cNvPr id="100" name="Rectangle 99"/>
            <p:cNvSpPr/>
            <p:nvPr/>
          </p:nvSpPr>
          <p:spPr bwMode="gray">
            <a:xfrm>
              <a:off x="7554152" y="2648901"/>
              <a:ext cx="1013804" cy="307777"/>
            </a:xfrm>
            <a:prstGeom prst="rect">
              <a:avLst/>
            </a:prstGeom>
          </p:spPr>
          <p:txBody>
            <a:bodyPr wrap="none">
              <a:spAutoFit/>
            </a:bodyPr>
            <a:lstStyle/>
            <a:p>
              <a:pPr algn="ctr"/>
              <a:r>
                <a:rPr lang="en-US" sz="1400" b="1" smtClean="0">
                  <a:solidFill>
                    <a:srgbClr val="0070C0"/>
                  </a:solidFill>
                </a:rPr>
                <a:t>List (K3,V3)</a:t>
              </a:r>
              <a:endParaRPr lang="en-IN" sz="1400" b="1">
                <a:solidFill>
                  <a:srgbClr val="0070C0"/>
                </a:solidFill>
              </a:endParaRPr>
            </a:p>
          </p:txBody>
        </p:sp>
      </p:grpSp>
    </p:spTree>
    <p:extLst>
      <p:ext uri="{BB962C8B-B14F-4D97-AF65-F5344CB8AC3E}">
        <p14:creationId xmlns:p14="http://schemas.microsoft.com/office/powerpoint/2010/main" val="633297174"/>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MAP AND REDUCE SIDE JOINS</a:t>
            </a:r>
            <a:endParaRPr lang="en-IN"/>
          </a:p>
        </p:txBody>
      </p:sp>
      <p:grpSp>
        <p:nvGrpSpPr>
          <p:cNvPr id="3" name="Group 2"/>
          <p:cNvGrpSpPr>
            <a:grpSpLocks/>
          </p:cNvGrpSpPr>
          <p:nvPr/>
        </p:nvGrpSpPr>
        <p:grpSpPr bwMode="gray">
          <a:xfrm>
            <a:off x="342900" y="1363931"/>
            <a:ext cx="8534400" cy="4441288"/>
            <a:chOff x="1961" y="1420"/>
            <a:chExt cx="21079" cy="10970"/>
          </a:xfrm>
        </p:grpSpPr>
        <p:pic>
          <p:nvPicPr>
            <p:cNvPr id="819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1" y="1420"/>
              <a:ext cx="21079" cy="1097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4"/>
            <p:cNvGrpSpPr>
              <a:grpSpLocks/>
            </p:cNvGrpSpPr>
            <p:nvPr/>
          </p:nvGrpSpPr>
          <p:grpSpPr bwMode="gray">
            <a:xfrm>
              <a:off x="15720" y="3940"/>
              <a:ext cx="5760" cy="727"/>
              <a:chOff x="15720" y="3940"/>
              <a:chExt cx="5760" cy="727"/>
            </a:xfrm>
          </p:grpSpPr>
          <p:sp>
            <p:nvSpPr>
              <p:cNvPr id="17" name="Freeform 5"/>
              <p:cNvSpPr>
                <a:spLocks/>
              </p:cNvSpPr>
              <p:nvPr/>
            </p:nvSpPr>
            <p:spPr bwMode="gray">
              <a:xfrm>
                <a:off x="15720" y="3940"/>
                <a:ext cx="5760" cy="727"/>
              </a:xfrm>
              <a:custGeom>
                <a:avLst/>
                <a:gdLst>
                  <a:gd name="T0" fmla="+- 0 15720 15720"/>
                  <a:gd name="T1" fmla="*/ T0 w 5760"/>
                  <a:gd name="T2" fmla="+- 0 4667 3940"/>
                  <a:gd name="T3" fmla="*/ 4667 h 727"/>
                  <a:gd name="T4" fmla="+- 0 21480 15720"/>
                  <a:gd name="T5" fmla="*/ T4 w 5760"/>
                  <a:gd name="T6" fmla="+- 0 4667 3940"/>
                  <a:gd name="T7" fmla="*/ 4667 h 727"/>
                  <a:gd name="T8" fmla="+- 0 21480 15720"/>
                  <a:gd name="T9" fmla="*/ T8 w 5760"/>
                  <a:gd name="T10" fmla="+- 0 3940 3940"/>
                  <a:gd name="T11" fmla="*/ 3940 h 727"/>
                  <a:gd name="T12" fmla="+- 0 15720 15720"/>
                  <a:gd name="T13" fmla="*/ T12 w 5760"/>
                  <a:gd name="T14" fmla="+- 0 3940 3940"/>
                  <a:gd name="T15" fmla="*/ 3940 h 727"/>
                  <a:gd name="T16" fmla="+- 0 15720 15720"/>
                  <a:gd name="T17" fmla="*/ T16 w 5760"/>
                  <a:gd name="T18" fmla="+- 0 4667 3940"/>
                  <a:gd name="T19" fmla="*/ 4667 h 727"/>
                </a:gdLst>
                <a:ahLst/>
                <a:cxnLst>
                  <a:cxn ang="0">
                    <a:pos x="T1" y="T3"/>
                  </a:cxn>
                  <a:cxn ang="0">
                    <a:pos x="T5" y="T7"/>
                  </a:cxn>
                  <a:cxn ang="0">
                    <a:pos x="T9" y="T11"/>
                  </a:cxn>
                  <a:cxn ang="0">
                    <a:pos x="T13" y="T15"/>
                  </a:cxn>
                  <a:cxn ang="0">
                    <a:pos x="T17" y="T19"/>
                  </a:cxn>
                </a:cxnLst>
                <a:rect l="0" t="0" r="r" b="b"/>
                <a:pathLst>
                  <a:path w="5760" h="727">
                    <a:moveTo>
                      <a:pt x="0" y="727"/>
                    </a:moveTo>
                    <a:lnTo>
                      <a:pt x="5760" y="727"/>
                    </a:lnTo>
                    <a:lnTo>
                      <a:pt x="5760" y="0"/>
                    </a:lnTo>
                    <a:lnTo>
                      <a:pt x="0" y="0"/>
                    </a:lnTo>
                    <a:lnTo>
                      <a:pt x="0" y="727"/>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5" name="Group 6"/>
            <p:cNvGrpSpPr>
              <a:grpSpLocks/>
            </p:cNvGrpSpPr>
            <p:nvPr/>
          </p:nvGrpSpPr>
          <p:grpSpPr bwMode="gray">
            <a:xfrm>
              <a:off x="6720" y="8740"/>
              <a:ext cx="3122" cy="720"/>
              <a:chOff x="6720" y="8740"/>
              <a:chExt cx="3122" cy="720"/>
            </a:xfrm>
          </p:grpSpPr>
          <p:sp>
            <p:nvSpPr>
              <p:cNvPr id="16" name="Freeform 7"/>
              <p:cNvSpPr>
                <a:spLocks/>
              </p:cNvSpPr>
              <p:nvPr/>
            </p:nvSpPr>
            <p:spPr bwMode="gray">
              <a:xfrm>
                <a:off x="6720" y="8740"/>
                <a:ext cx="3122" cy="720"/>
              </a:xfrm>
              <a:custGeom>
                <a:avLst/>
                <a:gdLst>
                  <a:gd name="T0" fmla="+- 0 6720 6720"/>
                  <a:gd name="T1" fmla="*/ T0 w 3122"/>
                  <a:gd name="T2" fmla="+- 0 9460 8740"/>
                  <a:gd name="T3" fmla="*/ 9460 h 720"/>
                  <a:gd name="T4" fmla="+- 0 9842 6720"/>
                  <a:gd name="T5" fmla="*/ T4 w 3122"/>
                  <a:gd name="T6" fmla="+- 0 9460 8740"/>
                  <a:gd name="T7" fmla="*/ 9460 h 720"/>
                  <a:gd name="T8" fmla="+- 0 9842 6720"/>
                  <a:gd name="T9" fmla="*/ T8 w 3122"/>
                  <a:gd name="T10" fmla="+- 0 8740 8740"/>
                  <a:gd name="T11" fmla="*/ 8740 h 720"/>
                  <a:gd name="T12" fmla="+- 0 6720 6720"/>
                  <a:gd name="T13" fmla="*/ T12 w 3122"/>
                  <a:gd name="T14" fmla="+- 0 8740 8740"/>
                  <a:gd name="T15" fmla="*/ 8740 h 720"/>
                  <a:gd name="T16" fmla="+- 0 6720 6720"/>
                  <a:gd name="T17" fmla="*/ T16 w 3122"/>
                  <a:gd name="T18" fmla="+- 0 9460 8740"/>
                  <a:gd name="T19" fmla="*/ 9460 h 720"/>
                </a:gdLst>
                <a:ahLst/>
                <a:cxnLst>
                  <a:cxn ang="0">
                    <a:pos x="T1" y="T3"/>
                  </a:cxn>
                  <a:cxn ang="0">
                    <a:pos x="T5" y="T7"/>
                  </a:cxn>
                  <a:cxn ang="0">
                    <a:pos x="T9" y="T11"/>
                  </a:cxn>
                  <a:cxn ang="0">
                    <a:pos x="T13" y="T15"/>
                  </a:cxn>
                  <a:cxn ang="0">
                    <a:pos x="T17" y="T19"/>
                  </a:cxn>
                </a:cxnLst>
                <a:rect l="0" t="0" r="r" b="b"/>
                <a:pathLst>
                  <a:path w="3122" h="720">
                    <a:moveTo>
                      <a:pt x="0" y="720"/>
                    </a:moveTo>
                    <a:lnTo>
                      <a:pt x="3122" y="720"/>
                    </a:lnTo>
                    <a:lnTo>
                      <a:pt x="3122" y="0"/>
                    </a:lnTo>
                    <a:lnTo>
                      <a:pt x="0" y="0"/>
                    </a:lnTo>
                    <a:lnTo>
                      <a:pt x="0" y="72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6" name="Group 8"/>
            <p:cNvGrpSpPr>
              <a:grpSpLocks/>
            </p:cNvGrpSpPr>
            <p:nvPr/>
          </p:nvGrpSpPr>
          <p:grpSpPr bwMode="gray">
            <a:xfrm>
              <a:off x="14400" y="8944"/>
              <a:ext cx="2520" cy="1356"/>
              <a:chOff x="14400" y="8944"/>
              <a:chExt cx="2520" cy="1356"/>
            </a:xfrm>
          </p:grpSpPr>
          <p:sp>
            <p:nvSpPr>
              <p:cNvPr id="15" name="Freeform 9"/>
              <p:cNvSpPr>
                <a:spLocks/>
              </p:cNvSpPr>
              <p:nvPr/>
            </p:nvSpPr>
            <p:spPr bwMode="gray">
              <a:xfrm>
                <a:off x="14400" y="8944"/>
                <a:ext cx="2520" cy="1356"/>
              </a:xfrm>
              <a:custGeom>
                <a:avLst/>
                <a:gdLst>
                  <a:gd name="T0" fmla="+- 0 14400 14400"/>
                  <a:gd name="T1" fmla="*/ T0 w 2520"/>
                  <a:gd name="T2" fmla="+- 0 10300 8944"/>
                  <a:gd name="T3" fmla="*/ 10300 h 1356"/>
                  <a:gd name="T4" fmla="+- 0 16920 14400"/>
                  <a:gd name="T5" fmla="*/ T4 w 2520"/>
                  <a:gd name="T6" fmla="+- 0 10300 8944"/>
                  <a:gd name="T7" fmla="*/ 10300 h 1356"/>
                  <a:gd name="T8" fmla="+- 0 16920 14400"/>
                  <a:gd name="T9" fmla="*/ T8 w 2520"/>
                  <a:gd name="T10" fmla="+- 0 8944 8944"/>
                  <a:gd name="T11" fmla="*/ 8944 h 1356"/>
                  <a:gd name="T12" fmla="+- 0 14400 14400"/>
                  <a:gd name="T13" fmla="*/ T12 w 2520"/>
                  <a:gd name="T14" fmla="+- 0 8944 8944"/>
                  <a:gd name="T15" fmla="*/ 8944 h 1356"/>
                  <a:gd name="T16" fmla="+- 0 14400 14400"/>
                  <a:gd name="T17" fmla="*/ T16 w 2520"/>
                  <a:gd name="T18" fmla="+- 0 10300 8944"/>
                  <a:gd name="T19" fmla="*/ 10300 h 1356"/>
                </a:gdLst>
                <a:ahLst/>
                <a:cxnLst>
                  <a:cxn ang="0">
                    <a:pos x="T1" y="T3"/>
                  </a:cxn>
                  <a:cxn ang="0">
                    <a:pos x="T5" y="T7"/>
                  </a:cxn>
                  <a:cxn ang="0">
                    <a:pos x="T9" y="T11"/>
                  </a:cxn>
                  <a:cxn ang="0">
                    <a:pos x="T13" y="T15"/>
                  </a:cxn>
                  <a:cxn ang="0">
                    <a:pos x="T17" y="T19"/>
                  </a:cxn>
                </a:cxnLst>
                <a:rect l="0" t="0" r="r" b="b"/>
                <a:pathLst>
                  <a:path w="2520" h="1356">
                    <a:moveTo>
                      <a:pt x="0" y="1356"/>
                    </a:moveTo>
                    <a:lnTo>
                      <a:pt x="2520" y="1356"/>
                    </a:lnTo>
                    <a:lnTo>
                      <a:pt x="2520" y="0"/>
                    </a:lnTo>
                    <a:lnTo>
                      <a:pt x="0" y="0"/>
                    </a:lnTo>
                    <a:lnTo>
                      <a:pt x="0" y="1356"/>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7" name="Group 10"/>
            <p:cNvGrpSpPr>
              <a:grpSpLocks/>
            </p:cNvGrpSpPr>
            <p:nvPr/>
          </p:nvGrpSpPr>
          <p:grpSpPr bwMode="gray">
            <a:xfrm>
              <a:off x="2760" y="3940"/>
              <a:ext cx="6600" cy="1080"/>
              <a:chOff x="2760" y="3940"/>
              <a:chExt cx="6600" cy="1080"/>
            </a:xfrm>
          </p:grpSpPr>
          <p:sp>
            <p:nvSpPr>
              <p:cNvPr id="14" name="Freeform 11"/>
              <p:cNvSpPr>
                <a:spLocks/>
              </p:cNvSpPr>
              <p:nvPr/>
            </p:nvSpPr>
            <p:spPr bwMode="gray">
              <a:xfrm>
                <a:off x="2760" y="3940"/>
                <a:ext cx="6600" cy="1080"/>
              </a:xfrm>
              <a:custGeom>
                <a:avLst/>
                <a:gdLst>
                  <a:gd name="T0" fmla="+- 0 9180 2760"/>
                  <a:gd name="T1" fmla="*/ T0 w 6600"/>
                  <a:gd name="T2" fmla="+- 0 3940 3940"/>
                  <a:gd name="T3" fmla="*/ 3940 h 1080"/>
                  <a:gd name="T4" fmla="+- 0 2923 2760"/>
                  <a:gd name="T5" fmla="*/ T4 w 6600"/>
                  <a:gd name="T6" fmla="+- 0 3941 3940"/>
                  <a:gd name="T7" fmla="*/ 3941 h 1080"/>
                  <a:gd name="T8" fmla="+- 0 2859 2760"/>
                  <a:gd name="T9" fmla="*/ T8 w 6600"/>
                  <a:gd name="T10" fmla="+- 0 3959 3940"/>
                  <a:gd name="T11" fmla="*/ 3959 h 1080"/>
                  <a:gd name="T12" fmla="+- 0 2807 2760"/>
                  <a:gd name="T13" fmla="*/ T12 w 6600"/>
                  <a:gd name="T14" fmla="+- 0 3998 3940"/>
                  <a:gd name="T15" fmla="*/ 3998 h 1080"/>
                  <a:gd name="T16" fmla="+- 0 2773 2760"/>
                  <a:gd name="T17" fmla="*/ T16 w 6600"/>
                  <a:gd name="T18" fmla="+- 0 4054 3940"/>
                  <a:gd name="T19" fmla="*/ 4054 h 1080"/>
                  <a:gd name="T20" fmla="+- 0 2760 2760"/>
                  <a:gd name="T21" fmla="*/ T20 w 6600"/>
                  <a:gd name="T22" fmla="+- 0 4120 3940"/>
                  <a:gd name="T23" fmla="*/ 4120 h 1080"/>
                  <a:gd name="T24" fmla="+- 0 2761 2760"/>
                  <a:gd name="T25" fmla="*/ T24 w 6600"/>
                  <a:gd name="T26" fmla="+- 0 4857 3940"/>
                  <a:gd name="T27" fmla="*/ 4857 h 1080"/>
                  <a:gd name="T28" fmla="+- 0 2779 2760"/>
                  <a:gd name="T29" fmla="*/ T28 w 6600"/>
                  <a:gd name="T30" fmla="+- 0 4921 3940"/>
                  <a:gd name="T31" fmla="*/ 4921 h 1080"/>
                  <a:gd name="T32" fmla="+- 0 2818 2760"/>
                  <a:gd name="T33" fmla="*/ T32 w 6600"/>
                  <a:gd name="T34" fmla="+- 0 4973 3940"/>
                  <a:gd name="T35" fmla="*/ 4973 h 1080"/>
                  <a:gd name="T36" fmla="+- 0 2874 2760"/>
                  <a:gd name="T37" fmla="*/ T36 w 6600"/>
                  <a:gd name="T38" fmla="+- 0 5007 3940"/>
                  <a:gd name="T39" fmla="*/ 5007 h 1080"/>
                  <a:gd name="T40" fmla="+- 0 2940 2760"/>
                  <a:gd name="T41" fmla="*/ T40 w 6600"/>
                  <a:gd name="T42" fmla="+- 0 5020 3940"/>
                  <a:gd name="T43" fmla="*/ 5020 h 1080"/>
                  <a:gd name="T44" fmla="+- 0 9197 2760"/>
                  <a:gd name="T45" fmla="*/ T44 w 6600"/>
                  <a:gd name="T46" fmla="+- 0 5019 3940"/>
                  <a:gd name="T47" fmla="*/ 5019 h 1080"/>
                  <a:gd name="T48" fmla="+- 0 9261 2760"/>
                  <a:gd name="T49" fmla="*/ T48 w 6600"/>
                  <a:gd name="T50" fmla="+- 0 5001 3940"/>
                  <a:gd name="T51" fmla="*/ 5001 h 1080"/>
                  <a:gd name="T52" fmla="+- 0 9313 2760"/>
                  <a:gd name="T53" fmla="*/ T52 w 6600"/>
                  <a:gd name="T54" fmla="+- 0 4962 3940"/>
                  <a:gd name="T55" fmla="*/ 4962 h 1080"/>
                  <a:gd name="T56" fmla="+- 0 9347 2760"/>
                  <a:gd name="T57" fmla="*/ T56 w 6600"/>
                  <a:gd name="T58" fmla="+- 0 4906 3940"/>
                  <a:gd name="T59" fmla="*/ 4906 h 1080"/>
                  <a:gd name="T60" fmla="+- 0 9360 2760"/>
                  <a:gd name="T61" fmla="*/ T60 w 6600"/>
                  <a:gd name="T62" fmla="+- 0 4840 3940"/>
                  <a:gd name="T63" fmla="*/ 4840 h 1080"/>
                  <a:gd name="T64" fmla="+- 0 9359 2760"/>
                  <a:gd name="T65" fmla="*/ T64 w 6600"/>
                  <a:gd name="T66" fmla="+- 0 4103 3940"/>
                  <a:gd name="T67" fmla="*/ 4103 h 1080"/>
                  <a:gd name="T68" fmla="+- 0 9341 2760"/>
                  <a:gd name="T69" fmla="*/ T68 w 6600"/>
                  <a:gd name="T70" fmla="+- 0 4039 3940"/>
                  <a:gd name="T71" fmla="*/ 4039 h 1080"/>
                  <a:gd name="T72" fmla="+- 0 9302 2760"/>
                  <a:gd name="T73" fmla="*/ T72 w 6600"/>
                  <a:gd name="T74" fmla="+- 0 3987 3940"/>
                  <a:gd name="T75" fmla="*/ 3987 h 1080"/>
                  <a:gd name="T76" fmla="+- 0 9246 2760"/>
                  <a:gd name="T77" fmla="*/ T76 w 6600"/>
                  <a:gd name="T78" fmla="+- 0 3953 3940"/>
                  <a:gd name="T79" fmla="*/ 3953 h 1080"/>
                  <a:gd name="T80" fmla="+- 0 9180 2760"/>
                  <a:gd name="T81" fmla="*/ T80 w 6600"/>
                  <a:gd name="T82" fmla="+- 0 3940 3940"/>
                  <a:gd name="T83" fmla="*/ 3940 h 1080"/>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6600" h="1080">
                    <a:moveTo>
                      <a:pt x="6420" y="0"/>
                    </a:moveTo>
                    <a:lnTo>
                      <a:pt x="163" y="1"/>
                    </a:lnTo>
                    <a:lnTo>
                      <a:pt x="99" y="19"/>
                    </a:lnTo>
                    <a:lnTo>
                      <a:pt x="47" y="58"/>
                    </a:lnTo>
                    <a:lnTo>
                      <a:pt x="13" y="114"/>
                    </a:lnTo>
                    <a:lnTo>
                      <a:pt x="0" y="180"/>
                    </a:lnTo>
                    <a:lnTo>
                      <a:pt x="1" y="917"/>
                    </a:lnTo>
                    <a:lnTo>
                      <a:pt x="19" y="981"/>
                    </a:lnTo>
                    <a:lnTo>
                      <a:pt x="58" y="1033"/>
                    </a:lnTo>
                    <a:lnTo>
                      <a:pt x="114" y="1067"/>
                    </a:lnTo>
                    <a:lnTo>
                      <a:pt x="180" y="1080"/>
                    </a:lnTo>
                    <a:lnTo>
                      <a:pt x="6437" y="1079"/>
                    </a:lnTo>
                    <a:lnTo>
                      <a:pt x="6501" y="1061"/>
                    </a:lnTo>
                    <a:lnTo>
                      <a:pt x="6553" y="1022"/>
                    </a:lnTo>
                    <a:lnTo>
                      <a:pt x="6587" y="966"/>
                    </a:lnTo>
                    <a:lnTo>
                      <a:pt x="6600" y="900"/>
                    </a:lnTo>
                    <a:lnTo>
                      <a:pt x="6599" y="163"/>
                    </a:lnTo>
                    <a:lnTo>
                      <a:pt x="6581" y="99"/>
                    </a:lnTo>
                    <a:lnTo>
                      <a:pt x="6542" y="47"/>
                    </a:lnTo>
                    <a:lnTo>
                      <a:pt x="6486" y="13"/>
                    </a:lnTo>
                    <a:lnTo>
                      <a:pt x="6420"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8" name="Group 12"/>
            <p:cNvGrpSpPr>
              <a:grpSpLocks/>
            </p:cNvGrpSpPr>
            <p:nvPr/>
          </p:nvGrpSpPr>
          <p:grpSpPr bwMode="gray">
            <a:xfrm>
              <a:off x="16054" y="4915"/>
              <a:ext cx="5988" cy="1555"/>
              <a:chOff x="16054" y="4915"/>
              <a:chExt cx="5988" cy="1555"/>
            </a:xfrm>
          </p:grpSpPr>
          <p:sp>
            <p:nvSpPr>
              <p:cNvPr id="13" name="Freeform 13"/>
              <p:cNvSpPr>
                <a:spLocks/>
              </p:cNvSpPr>
              <p:nvPr/>
            </p:nvSpPr>
            <p:spPr bwMode="gray">
              <a:xfrm>
                <a:off x="16054" y="4915"/>
                <a:ext cx="5988" cy="1555"/>
              </a:xfrm>
              <a:custGeom>
                <a:avLst/>
                <a:gdLst>
                  <a:gd name="T0" fmla="+- 0 21809 16080"/>
                  <a:gd name="T1" fmla="*/ T0 w 5988"/>
                  <a:gd name="T2" fmla="+- 0 4941 4941"/>
                  <a:gd name="T3" fmla="*/ 4941 h 1555"/>
                  <a:gd name="T4" fmla="+- 0 16332 16080"/>
                  <a:gd name="T5" fmla="*/ T4 w 5988"/>
                  <a:gd name="T6" fmla="+- 0 4941 4941"/>
                  <a:gd name="T7" fmla="*/ 4941 h 1555"/>
                  <a:gd name="T8" fmla="+- 0 16264 16080"/>
                  <a:gd name="T9" fmla="*/ T8 w 5988"/>
                  <a:gd name="T10" fmla="+- 0 4952 4941"/>
                  <a:gd name="T11" fmla="*/ 4952 h 1555"/>
                  <a:gd name="T12" fmla="+- 0 16204 16080"/>
                  <a:gd name="T13" fmla="*/ T12 w 5988"/>
                  <a:gd name="T14" fmla="+- 0 4979 4941"/>
                  <a:gd name="T15" fmla="*/ 4979 h 1555"/>
                  <a:gd name="T16" fmla="+- 0 16153 16080"/>
                  <a:gd name="T17" fmla="*/ T16 w 5988"/>
                  <a:gd name="T18" fmla="+- 0 5019 4941"/>
                  <a:gd name="T19" fmla="*/ 5019 h 1555"/>
                  <a:gd name="T20" fmla="+- 0 16114 16080"/>
                  <a:gd name="T21" fmla="*/ T20 w 5988"/>
                  <a:gd name="T22" fmla="+- 0 5071 4941"/>
                  <a:gd name="T23" fmla="*/ 5071 h 1555"/>
                  <a:gd name="T24" fmla="+- 0 16089 16080"/>
                  <a:gd name="T25" fmla="*/ T24 w 5988"/>
                  <a:gd name="T26" fmla="+- 0 5132 4941"/>
                  <a:gd name="T27" fmla="*/ 5132 h 1555"/>
                  <a:gd name="T28" fmla="+- 0 16080 16080"/>
                  <a:gd name="T29" fmla="*/ T28 w 5988"/>
                  <a:gd name="T30" fmla="+- 0 5200 4941"/>
                  <a:gd name="T31" fmla="*/ 5200 h 1555"/>
                  <a:gd name="T32" fmla="+- 0 16080 16080"/>
                  <a:gd name="T33" fmla="*/ T32 w 5988"/>
                  <a:gd name="T34" fmla="+- 0 6244 4941"/>
                  <a:gd name="T35" fmla="*/ 6244 h 1555"/>
                  <a:gd name="T36" fmla="+- 0 16091 16080"/>
                  <a:gd name="T37" fmla="*/ T36 w 5988"/>
                  <a:gd name="T38" fmla="+- 0 6312 4941"/>
                  <a:gd name="T39" fmla="*/ 6312 h 1555"/>
                  <a:gd name="T40" fmla="+- 0 16118 16080"/>
                  <a:gd name="T41" fmla="*/ T40 w 5988"/>
                  <a:gd name="T42" fmla="+- 0 6372 4941"/>
                  <a:gd name="T43" fmla="*/ 6372 h 1555"/>
                  <a:gd name="T44" fmla="+- 0 16158 16080"/>
                  <a:gd name="T45" fmla="*/ T44 w 5988"/>
                  <a:gd name="T46" fmla="+- 0 6423 4941"/>
                  <a:gd name="T47" fmla="*/ 6423 h 1555"/>
                  <a:gd name="T48" fmla="+- 0 16210 16080"/>
                  <a:gd name="T49" fmla="*/ T48 w 5988"/>
                  <a:gd name="T50" fmla="+- 0 6462 4941"/>
                  <a:gd name="T51" fmla="*/ 6462 h 1555"/>
                  <a:gd name="T52" fmla="+- 0 16271 16080"/>
                  <a:gd name="T53" fmla="*/ T52 w 5988"/>
                  <a:gd name="T54" fmla="+- 0 6487 4941"/>
                  <a:gd name="T55" fmla="*/ 6487 h 1555"/>
                  <a:gd name="T56" fmla="+- 0 16339 16080"/>
                  <a:gd name="T57" fmla="*/ T56 w 5988"/>
                  <a:gd name="T58" fmla="+- 0 6496 4941"/>
                  <a:gd name="T59" fmla="*/ 6496 h 1555"/>
                  <a:gd name="T60" fmla="+- 0 21816 16080"/>
                  <a:gd name="T61" fmla="*/ T60 w 5988"/>
                  <a:gd name="T62" fmla="+- 0 6496 4941"/>
                  <a:gd name="T63" fmla="*/ 6496 h 1555"/>
                  <a:gd name="T64" fmla="+- 0 21884 16080"/>
                  <a:gd name="T65" fmla="*/ T64 w 5988"/>
                  <a:gd name="T66" fmla="+- 0 6485 4941"/>
                  <a:gd name="T67" fmla="*/ 6485 h 1555"/>
                  <a:gd name="T68" fmla="+- 0 21944 16080"/>
                  <a:gd name="T69" fmla="*/ T68 w 5988"/>
                  <a:gd name="T70" fmla="+- 0 6458 4941"/>
                  <a:gd name="T71" fmla="*/ 6458 h 1555"/>
                  <a:gd name="T72" fmla="+- 0 21995 16080"/>
                  <a:gd name="T73" fmla="*/ T72 w 5988"/>
                  <a:gd name="T74" fmla="+- 0 6418 4941"/>
                  <a:gd name="T75" fmla="*/ 6418 h 1555"/>
                  <a:gd name="T76" fmla="+- 0 22034 16080"/>
                  <a:gd name="T77" fmla="*/ T76 w 5988"/>
                  <a:gd name="T78" fmla="+- 0 6366 4941"/>
                  <a:gd name="T79" fmla="*/ 6366 h 1555"/>
                  <a:gd name="T80" fmla="+- 0 22059 16080"/>
                  <a:gd name="T81" fmla="*/ T80 w 5988"/>
                  <a:gd name="T82" fmla="+- 0 6305 4941"/>
                  <a:gd name="T83" fmla="*/ 6305 h 1555"/>
                  <a:gd name="T84" fmla="+- 0 22068 16080"/>
                  <a:gd name="T85" fmla="*/ T84 w 5988"/>
                  <a:gd name="T86" fmla="+- 0 6237 4941"/>
                  <a:gd name="T87" fmla="*/ 6237 h 1555"/>
                  <a:gd name="T88" fmla="+- 0 22068 16080"/>
                  <a:gd name="T89" fmla="*/ T88 w 5988"/>
                  <a:gd name="T90" fmla="+- 0 5192 4941"/>
                  <a:gd name="T91" fmla="*/ 5192 h 1555"/>
                  <a:gd name="T92" fmla="+- 0 22057 16080"/>
                  <a:gd name="T93" fmla="*/ T92 w 5988"/>
                  <a:gd name="T94" fmla="+- 0 5125 4941"/>
                  <a:gd name="T95" fmla="*/ 5125 h 1555"/>
                  <a:gd name="T96" fmla="+- 0 22030 16080"/>
                  <a:gd name="T97" fmla="*/ T96 w 5988"/>
                  <a:gd name="T98" fmla="+- 0 5065 4941"/>
                  <a:gd name="T99" fmla="*/ 5065 h 1555"/>
                  <a:gd name="T100" fmla="+- 0 21990 16080"/>
                  <a:gd name="T101" fmla="*/ T100 w 5988"/>
                  <a:gd name="T102" fmla="+- 0 5014 4941"/>
                  <a:gd name="T103" fmla="*/ 5014 h 1555"/>
                  <a:gd name="T104" fmla="+- 0 21938 16080"/>
                  <a:gd name="T105" fmla="*/ T104 w 5988"/>
                  <a:gd name="T106" fmla="+- 0 4975 4941"/>
                  <a:gd name="T107" fmla="*/ 4975 h 1555"/>
                  <a:gd name="T108" fmla="+- 0 21877 16080"/>
                  <a:gd name="T109" fmla="*/ T108 w 5988"/>
                  <a:gd name="T110" fmla="+- 0 4950 4941"/>
                  <a:gd name="T111" fmla="*/ 4950 h 1555"/>
                  <a:gd name="T112" fmla="+- 0 21809 16080"/>
                  <a:gd name="T113" fmla="*/ T112 w 5988"/>
                  <a:gd name="T114" fmla="+- 0 4941 4941"/>
                  <a:gd name="T115" fmla="*/ 4941 h 1555"/>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Lst>
                <a:rect l="0" t="0" r="r" b="b"/>
                <a:pathLst>
                  <a:path w="5988" h="1555">
                    <a:moveTo>
                      <a:pt x="5729" y="0"/>
                    </a:moveTo>
                    <a:lnTo>
                      <a:pt x="252" y="0"/>
                    </a:lnTo>
                    <a:lnTo>
                      <a:pt x="184" y="11"/>
                    </a:lnTo>
                    <a:lnTo>
                      <a:pt x="124" y="38"/>
                    </a:lnTo>
                    <a:lnTo>
                      <a:pt x="73" y="78"/>
                    </a:lnTo>
                    <a:lnTo>
                      <a:pt x="34" y="130"/>
                    </a:lnTo>
                    <a:lnTo>
                      <a:pt x="9" y="191"/>
                    </a:lnTo>
                    <a:lnTo>
                      <a:pt x="0" y="259"/>
                    </a:lnTo>
                    <a:lnTo>
                      <a:pt x="0" y="1303"/>
                    </a:lnTo>
                    <a:lnTo>
                      <a:pt x="11" y="1371"/>
                    </a:lnTo>
                    <a:lnTo>
                      <a:pt x="38" y="1431"/>
                    </a:lnTo>
                    <a:lnTo>
                      <a:pt x="78" y="1482"/>
                    </a:lnTo>
                    <a:lnTo>
                      <a:pt x="130" y="1521"/>
                    </a:lnTo>
                    <a:lnTo>
                      <a:pt x="191" y="1546"/>
                    </a:lnTo>
                    <a:lnTo>
                      <a:pt x="259" y="1555"/>
                    </a:lnTo>
                    <a:lnTo>
                      <a:pt x="5736" y="1555"/>
                    </a:lnTo>
                    <a:lnTo>
                      <a:pt x="5804" y="1544"/>
                    </a:lnTo>
                    <a:lnTo>
                      <a:pt x="5864" y="1517"/>
                    </a:lnTo>
                    <a:lnTo>
                      <a:pt x="5915" y="1477"/>
                    </a:lnTo>
                    <a:lnTo>
                      <a:pt x="5954" y="1425"/>
                    </a:lnTo>
                    <a:lnTo>
                      <a:pt x="5979" y="1364"/>
                    </a:lnTo>
                    <a:lnTo>
                      <a:pt x="5988" y="1296"/>
                    </a:lnTo>
                    <a:lnTo>
                      <a:pt x="5988" y="251"/>
                    </a:lnTo>
                    <a:lnTo>
                      <a:pt x="5977" y="184"/>
                    </a:lnTo>
                    <a:lnTo>
                      <a:pt x="5950" y="124"/>
                    </a:lnTo>
                    <a:lnTo>
                      <a:pt x="5910" y="73"/>
                    </a:lnTo>
                    <a:lnTo>
                      <a:pt x="5858" y="34"/>
                    </a:lnTo>
                    <a:lnTo>
                      <a:pt x="5797" y="9"/>
                    </a:lnTo>
                    <a:lnTo>
                      <a:pt x="5729"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9" name="Group 14"/>
            <p:cNvGrpSpPr>
              <a:grpSpLocks/>
            </p:cNvGrpSpPr>
            <p:nvPr/>
          </p:nvGrpSpPr>
          <p:grpSpPr bwMode="gray">
            <a:xfrm>
              <a:off x="4510" y="1780"/>
              <a:ext cx="3290" cy="1080"/>
              <a:chOff x="4510" y="1780"/>
              <a:chExt cx="3290" cy="1080"/>
            </a:xfrm>
          </p:grpSpPr>
          <p:sp>
            <p:nvSpPr>
              <p:cNvPr id="12" name="Freeform 15"/>
              <p:cNvSpPr>
                <a:spLocks/>
              </p:cNvSpPr>
              <p:nvPr/>
            </p:nvSpPr>
            <p:spPr bwMode="gray">
              <a:xfrm>
                <a:off x="4510" y="1780"/>
                <a:ext cx="3290" cy="1080"/>
              </a:xfrm>
              <a:custGeom>
                <a:avLst/>
                <a:gdLst>
                  <a:gd name="T0" fmla="+- 0 7620 4510"/>
                  <a:gd name="T1" fmla="*/ T0 w 3290"/>
                  <a:gd name="T2" fmla="+- 0 1780 1780"/>
                  <a:gd name="T3" fmla="*/ 1780 h 1080"/>
                  <a:gd name="T4" fmla="+- 0 4673 4510"/>
                  <a:gd name="T5" fmla="*/ T4 w 3290"/>
                  <a:gd name="T6" fmla="+- 0 1781 1780"/>
                  <a:gd name="T7" fmla="*/ 1781 h 1080"/>
                  <a:gd name="T8" fmla="+- 0 4609 4510"/>
                  <a:gd name="T9" fmla="*/ T8 w 3290"/>
                  <a:gd name="T10" fmla="+- 0 1799 1780"/>
                  <a:gd name="T11" fmla="*/ 1799 h 1080"/>
                  <a:gd name="T12" fmla="+- 0 4557 4510"/>
                  <a:gd name="T13" fmla="*/ T12 w 3290"/>
                  <a:gd name="T14" fmla="+- 0 1838 1780"/>
                  <a:gd name="T15" fmla="*/ 1838 h 1080"/>
                  <a:gd name="T16" fmla="+- 0 4522 4510"/>
                  <a:gd name="T17" fmla="*/ T16 w 3290"/>
                  <a:gd name="T18" fmla="+- 0 1894 1780"/>
                  <a:gd name="T19" fmla="*/ 1894 h 1080"/>
                  <a:gd name="T20" fmla="+- 0 4510 4510"/>
                  <a:gd name="T21" fmla="*/ T20 w 3290"/>
                  <a:gd name="T22" fmla="+- 0 1960 1780"/>
                  <a:gd name="T23" fmla="*/ 1960 h 1080"/>
                  <a:gd name="T24" fmla="+- 0 4510 4510"/>
                  <a:gd name="T25" fmla="*/ T24 w 3290"/>
                  <a:gd name="T26" fmla="+- 0 2697 1780"/>
                  <a:gd name="T27" fmla="*/ 2697 h 1080"/>
                  <a:gd name="T28" fmla="+- 0 4529 4510"/>
                  <a:gd name="T29" fmla="*/ T28 w 3290"/>
                  <a:gd name="T30" fmla="+- 0 2761 1780"/>
                  <a:gd name="T31" fmla="*/ 2761 h 1080"/>
                  <a:gd name="T32" fmla="+- 0 4568 4510"/>
                  <a:gd name="T33" fmla="*/ T32 w 3290"/>
                  <a:gd name="T34" fmla="+- 0 2813 1780"/>
                  <a:gd name="T35" fmla="*/ 2813 h 1080"/>
                  <a:gd name="T36" fmla="+- 0 4623 4510"/>
                  <a:gd name="T37" fmla="*/ T36 w 3290"/>
                  <a:gd name="T38" fmla="+- 0 2847 1780"/>
                  <a:gd name="T39" fmla="*/ 2847 h 1080"/>
                  <a:gd name="T40" fmla="+- 0 4690 4510"/>
                  <a:gd name="T41" fmla="*/ T40 w 3290"/>
                  <a:gd name="T42" fmla="+- 0 2860 1780"/>
                  <a:gd name="T43" fmla="*/ 2860 h 1080"/>
                  <a:gd name="T44" fmla="+- 0 7637 4510"/>
                  <a:gd name="T45" fmla="*/ T44 w 3290"/>
                  <a:gd name="T46" fmla="+- 0 2859 1780"/>
                  <a:gd name="T47" fmla="*/ 2859 h 1080"/>
                  <a:gd name="T48" fmla="+- 0 7701 4510"/>
                  <a:gd name="T49" fmla="*/ T48 w 3290"/>
                  <a:gd name="T50" fmla="+- 0 2841 1780"/>
                  <a:gd name="T51" fmla="*/ 2841 h 1080"/>
                  <a:gd name="T52" fmla="+- 0 7753 4510"/>
                  <a:gd name="T53" fmla="*/ T52 w 3290"/>
                  <a:gd name="T54" fmla="+- 0 2802 1780"/>
                  <a:gd name="T55" fmla="*/ 2802 h 1080"/>
                  <a:gd name="T56" fmla="+- 0 7787 4510"/>
                  <a:gd name="T57" fmla="*/ T56 w 3290"/>
                  <a:gd name="T58" fmla="+- 0 2746 1780"/>
                  <a:gd name="T59" fmla="*/ 2746 h 1080"/>
                  <a:gd name="T60" fmla="+- 0 7800 4510"/>
                  <a:gd name="T61" fmla="*/ T60 w 3290"/>
                  <a:gd name="T62" fmla="+- 0 2680 1780"/>
                  <a:gd name="T63" fmla="*/ 2680 h 1080"/>
                  <a:gd name="T64" fmla="+- 0 7799 4510"/>
                  <a:gd name="T65" fmla="*/ T64 w 3290"/>
                  <a:gd name="T66" fmla="+- 0 1943 1780"/>
                  <a:gd name="T67" fmla="*/ 1943 h 1080"/>
                  <a:gd name="T68" fmla="+- 0 7781 4510"/>
                  <a:gd name="T69" fmla="*/ T68 w 3290"/>
                  <a:gd name="T70" fmla="+- 0 1879 1780"/>
                  <a:gd name="T71" fmla="*/ 1879 h 1080"/>
                  <a:gd name="T72" fmla="+- 0 7742 4510"/>
                  <a:gd name="T73" fmla="*/ T72 w 3290"/>
                  <a:gd name="T74" fmla="+- 0 1827 1780"/>
                  <a:gd name="T75" fmla="*/ 1827 h 1080"/>
                  <a:gd name="T76" fmla="+- 0 7686 4510"/>
                  <a:gd name="T77" fmla="*/ T76 w 3290"/>
                  <a:gd name="T78" fmla="+- 0 1793 1780"/>
                  <a:gd name="T79" fmla="*/ 1793 h 1080"/>
                  <a:gd name="T80" fmla="+- 0 7620 4510"/>
                  <a:gd name="T81" fmla="*/ T80 w 3290"/>
                  <a:gd name="T82" fmla="+- 0 1780 1780"/>
                  <a:gd name="T83" fmla="*/ 1780 h 1080"/>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3290" h="1080">
                    <a:moveTo>
                      <a:pt x="3110" y="0"/>
                    </a:moveTo>
                    <a:lnTo>
                      <a:pt x="163" y="1"/>
                    </a:lnTo>
                    <a:lnTo>
                      <a:pt x="99" y="19"/>
                    </a:lnTo>
                    <a:lnTo>
                      <a:pt x="47" y="58"/>
                    </a:lnTo>
                    <a:lnTo>
                      <a:pt x="12" y="114"/>
                    </a:lnTo>
                    <a:lnTo>
                      <a:pt x="0" y="180"/>
                    </a:lnTo>
                    <a:lnTo>
                      <a:pt x="0" y="917"/>
                    </a:lnTo>
                    <a:lnTo>
                      <a:pt x="19" y="981"/>
                    </a:lnTo>
                    <a:lnTo>
                      <a:pt x="58" y="1033"/>
                    </a:lnTo>
                    <a:lnTo>
                      <a:pt x="113" y="1067"/>
                    </a:lnTo>
                    <a:lnTo>
                      <a:pt x="180" y="1080"/>
                    </a:lnTo>
                    <a:lnTo>
                      <a:pt x="3127" y="1079"/>
                    </a:lnTo>
                    <a:lnTo>
                      <a:pt x="3191" y="1061"/>
                    </a:lnTo>
                    <a:lnTo>
                      <a:pt x="3243" y="1022"/>
                    </a:lnTo>
                    <a:lnTo>
                      <a:pt x="3277" y="966"/>
                    </a:lnTo>
                    <a:lnTo>
                      <a:pt x="3290" y="900"/>
                    </a:lnTo>
                    <a:lnTo>
                      <a:pt x="3289" y="163"/>
                    </a:lnTo>
                    <a:lnTo>
                      <a:pt x="3271" y="99"/>
                    </a:lnTo>
                    <a:lnTo>
                      <a:pt x="3232" y="47"/>
                    </a:lnTo>
                    <a:lnTo>
                      <a:pt x="3176" y="13"/>
                    </a:lnTo>
                    <a:lnTo>
                      <a:pt x="3110" y="0"/>
                    </a:ln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0" name="Group 16"/>
            <p:cNvGrpSpPr>
              <a:grpSpLocks/>
            </p:cNvGrpSpPr>
            <p:nvPr/>
          </p:nvGrpSpPr>
          <p:grpSpPr bwMode="gray">
            <a:xfrm>
              <a:off x="4510" y="10180"/>
              <a:ext cx="3290" cy="1080"/>
              <a:chOff x="4510" y="10180"/>
              <a:chExt cx="3290" cy="1080"/>
            </a:xfrm>
          </p:grpSpPr>
          <p:sp>
            <p:nvSpPr>
              <p:cNvPr id="11" name="Freeform 17"/>
              <p:cNvSpPr>
                <a:spLocks/>
              </p:cNvSpPr>
              <p:nvPr/>
            </p:nvSpPr>
            <p:spPr bwMode="gray">
              <a:xfrm>
                <a:off x="4510" y="10180"/>
                <a:ext cx="3290" cy="1080"/>
              </a:xfrm>
              <a:custGeom>
                <a:avLst/>
                <a:gdLst>
                  <a:gd name="T0" fmla="+- 0 7620 4510"/>
                  <a:gd name="T1" fmla="*/ T0 w 3290"/>
                  <a:gd name="T2" fmla="+- 0 10180 10180"/>
                  <a:gd name="T3" fmla="*/ 10180 h 1080"/>
                  <a:gd name="T4" fmla="+- 0 4673 4510"/>
                  <a:gd name="T5" fmla="*/ T4 w 3290"/>
                  <a:gd name="T6" fmla="+- 0 10181 10180"/>
                  <a:gd name="T7" fmla="*/ 10181 h 1080"/>
                  <a:gd name="T8" fmla="+- 0 4609 4510"/>
                  <a:gd name="T9" fmla="*/ T8 w 3290"/>
                  <a:gd name="T10" fmla="+- 0 10199 10180"/>
                  <a:gd name="T11" fmla="*/ 10199 h 1080"/>
                  <a:gd name="T12" fmla="+- 0 4557 4510"/>
                  <a:gd name="T13" fmla="*/ T12 w 3290"/>
                  <a:gd name="T14" fmla="+- 0 10238 10180"/>
                  <a:gd name="T15" fmla="*/ 10238 h 1080"/>
                  <a:gd name="T16" fmla="+- 0 4522 4510"/>
                  <a:gd name="T17" fmla="*/ T16 w 3290"/>
                  <a:gd name="T18" fmla="+- 0 10294 10180"/>
                  <a:gd name="T19" fmla="*/ 10294 h 1080"/>
                  <a:gd name="T20" fmla="+- 0 4510 4510"/>
                  <a:gd name="T21" fmla="*/ T20 w 3290"/>
                  <a:gd name="T22" fmla="+- 0 10360 10180"/>
                  <a:gd name="T23" fmla="*/ 10360 h 1080"/>
                  <a:gd name="T24" fmla="+- 0 4510 4510"/>
                  <a:gd name="T25" fmla="*/ T24 w 3290"/>
                  <a:gd name="T26" fmla="+- 0 11097 10180"/>
                  <a:gd name="T27" fmla="*/ 11097 h 1080"/>
                  <a:gd name="T28" fmla="+- 0 4529 4510"/>
                  <a:gd name="T29" fmla="*/ T28 w 3290"/>
                  <a:gd name="T30" fmla="+- 0 11161 10180"/>
                  <a:gd name="T31" fmla="*/ 11161 h 1080"/>
                  <a:gd name="T32" fmla="+- 0 4568 4510"/>
                  <a:gd name="T33" fmla="*/ T32 w 3290"/>
                  <a:gd name="T34" fmla="+- 0 11213 10180"/>
                  <a:gd name="T35" fmla="*/ 11213 h 1080"/>
                  <a:gd name="T36" fmla="+- 0 4623 4510"/>
                  <a:gd name="T37" fmla="*/ T36 w 3290"/>
                  <a:gd name="T38" fmla="+- 0 11247 10180"/>
                  <a:gd name="T39" fmla="*/ 11247 h 1080"/>
                  <a:gd name="T40" fmla="+- 0 4690 4510"/>
                  <a:gd name="T41" fmla="*/ T40 w 3290"/>
                  <a:gd name="T42" fmla="+- 0 11260 10180"/>
                  <a:gd name="T43" fmla="*/ 11260 h 1080"/>
                  <a:gd name="T44" fmla="+- 0 7637 4510"/>
                  <a:gd name="T45" fmla="*/ T44 w 3290"/>
                  <a:gd name="T46" fmla="+- 0 11259 10180"/>
                  <a:gd name="T47" fmla="*/ 11259 h 1080"/>
                  <a:gd name="T48" fmla="+- 0 7701 4510"/>
                  <a:gd name="T49" fmla="*/ T48 w 3290"/>
                  <a:gd name="T50" fmla="+- 0 11241 10180"/>
                  <a:gd name="T51" fmla="*/ 11241 h 1080"/>
                  <a:gd name="T52" fmla="+- 0 7753 4510"/>
                  <a:gd name="T53" fmla="*/ T52 w 3290"/>
                  <a:gd name="T54" fmla="+- 0 11202 10180"/>
                  <a:gd name="T55" fmla="*/ 11202 h 1080"/>
                  <a:gd name="T56" fmla="+- 0 7787 4510"/>
                  <a:gd name="T57" fmla="*/ T56 w 3290"/>
                  <a:gd name="T58" fmla="+- 0 11146 10180"/>
                  <a:gd name="T59" fmla="*/ 11146 h 1080"/>
                  <a:gd name="T60" fmla="+- 0 7800 4510"/>
                  <a:gd name="T61" fmla="*/ T60 w 3290"/>
                  <a:gd name="T62" fmla="+- 0 11080 10180"/>
                  <a:gd name="T63" fmla="*/ 11080 h 1080"/>
                  <a:gd name="T64" fmla="+- 0 7799 4510"/>
                  <a:gd name="T65" fmla="*/ T64 w 3290"/>
                  <a:gd name="T66" fmla="+- 0 10343 10180"/>
                  <a:gd name="T67" fmla="*/ 10343 h 1080"/>
                  <a:gd name="T68" fmla="+- 0 7781 4510"/>
                  <a:gd name="T69" fmla="*/ T68 w 3290"/>
                  <a:gd name="T70" fmla="+- 0 10279 10180"/>
                  <a:gd name="T71" fmla="*/ 10279 h 1080"/>
                  <a:gd name="T72" fmla="+- 0 7742 4510"/>
                  <a:gd name="T73" fmla="*/ T72 w 3290"/>
                  <a:gd name="T74" fmla="+- 0 10227 10180"/>
                  <a:gd name="T75" fmla="*/ 10227 h 1080"/>
                  <a:gd name="T76" fmla="+- 0 7686 4510"/>
                  <a:gd name="T77" fmla="*/ T76 w 3290"/>
                  <a:gd name="T78" fmla="+- 0 10193 10180"/>
                  <a:gd name="T79" fmla="*/ 10193 h 1080"/>
                  <a:gd name="T80" fmla="+- 0 7620 4510"/>
                  <a:gd name="T81" fmla="*/ T80 w 3290"/>
                  <a:gd name="T82" fmla="+- 0 10180 10180"/>
                  <a:gd name="T83" fmla="*/ 10180 h 1080"/>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3290" h="1080">
                    <a:moveTo>
                      <a:pt x="3110" y="0"/>
                    </a:moveTo>
                    <a:lnTo>
                      <a:pt x="163" y="1"/>
                    </a:lnTo>
                    <a:lnTo>
                      <a:pt x="99" y="19"/>
                    </a:lnTo>
                    <a:lnTo>
                      <a:pt x="47" y="58"/>
                    </a:lnTo>
                    <a:lnTo>
                      <a:pt x="12" y="114"/>
                    </a:lnTo>
                    <a:lnTo>
                      <a:pt x="0" y="180"/>
                    </a:lnTo>
                    <a:lnTo>
                      <a:pt x="0" y="917"/>
                    </a:lnTo>
                    <a:lnTo>
                      <a:pt x="19" y="981"/>
                    </a:lnTo>
                    <a:lnTo>
                      <a:pt x="58" y="1033"/>
                    </a:lnTo>
                    <a:lnTo>
                      <a:pt x="113" y="1067"/>
                    </a:lnTo>
                    <a:lnTo>
                      <a:pt x="180" y="1080"/>
                    </a:lnTo>
                    <a:lnTo>
                      <a:pt x="3127" y="1079"/>
                    </a:lnTo>
                    <a:lnTo>
                      <a:pt x="3191" y="1061"/>
                    </a:lnTo>
                    <a:lnTo>
                      <a:pt x="3243" y="1022"/>
                    </a:lnTo>
                    <a:lnTo>
                      <a:pt x="3277" y="966"/>
                    </a:lnTo>
                    <a:lnTo>
                      <a:pt x="3290" y="900"/>
                    </a:lnTo>
                    <a:lnTo>
                      <a:pt x="3289" y="163"/>
                    </a:lnTo>
                    <a:lnTo>
                      <a:pt x="3271" y="99"/>
                    </a:lnTo>
                    <a:lnTo>
                      <a:pt x="3232" y="47"/>
                    </a:lnTo>
                    <a:lnTo>
                      <a:pt x="3176" y="13"/>
                    </a:lnTo>
                    <a:lnTo>
                      <a:pt x="3110" y="0"/>
                    </a:ln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sp>
        <p:nvSpPr>
          <p:cNvPr id="18" name="Rectangle 17"/>
          <p:cNvSpPr/>
          <p:nvPr/>
        </p:nvSpPr>
        <p:spPr bwMode="gray">
          <a:xfrm>
            <a:off x="5334000" y="4833035"/>
            <a:ext cx="1092200" cy="584775"/>
          </a:xfrm>
          <a:prstGeom prst="rect">
            <a:avLst/>
          </a:prstGeom>
        </p:spPr>
        <p:txBody>
          <a:bodyPr wrap="square">
            <a:spAutoFit/>
          </a:bodyPr>
          <a:lstStyle/>
          <a:p>
            <a:r>
              <a:rPr lang="en-US" sz="1600"/>
              <a:t>Big Table</a:t>
            </a:r>
            <a:endParaRPr lang="en-IN" sz="1600"/>
          </a:p>
          <a:p>
            <a:r>
              <a:rPr lang="en-US" sz="1600"/>
              <a:t>Data</a:t>
            </a:r>
            <a:endParaRPr lang="en-IN" sz="1600"/>
          </a:p>
        </p:txBody>
      </p:sp>
      <p:sp>
        <p:nvSpPr>
          <p:cNvPr id="36" name="Rectangle 35"/>
          <p:cNvSpPr/>
          <p:nvPr/>
        </p:nvSpPr>
        <p:spPr bwMode="gray">
          <a:xfrm>
            <a:off x="6032500" y="1975535"/>
            <a:ext cx="1295400" cy="584775"/>
          </a:xfrm>
          <a:prstGeom prst="rect">
            <a:avLst/>
          </a:prstGeom>
        </p:spPr>
        <p:txBody>
          <a:bodyPr wrap="square">
            <a:spAutoFit/>
          </a:bodyPr>
          <a:lstStyle/>
          <a:p>
            <a:r>
              <a:rPr lang="en-US" sz="1600"/>
              <a:t>Compressed &amp; Archived</a:t>
            </a:r>
            <a:endParaRPr lang="en-IN" sz="1600"/>
          </a:p>
        </p:txBody>
      </p:sp>
      <p:sp>
        <p:nvSpPr>
          <p:cNvPr id="37" name="Rectangle 36"/>
          <p:cNvSpPr/>
          <p:nvPr/>
        </p:nvSpPr>
        <p:spPr bwMode="gray">
          <a:xfrm>
            <a:off x="2578100" y="4528235"/>
            <a:ext cx="1295400" cy="338554"/>
          </a:xfrm>
          <a:prstGeom prst="rect">
            <a:avLst/>
          </a:prstGeom>
        </p:spPr>
        <p:txBody>
          <a:bodyPr wrap="square">
            <a:spAutoFit/>
          </a:bodyPr>
          <a:lstStyle/>
          <a:p>
            <a:r>
              <a:rPr lang="en-US" sz="1600"/>
              <a:t>MapJoin Task</a:t>
            </a:r>
            <a:endParaRPr lang="en-IN" sz="1600"/>
          </a:p>
        </p:txBody>
      </p:sp>
      <p:sp>
        <p:nvSpPr>
          <p:cNvPr id="19" name="Rectangle 18"/>
          <p:cNvSpPr/>
          <p:nvPr/>
        </p:nvSpPr>
        <p:spPr bwMode="gray">
          <a:xfrm>
            <a:off x="873762" y="2418834"/>
            <a:ext cx="2291076" cy="369332"/>
          </a:xfrm>
          <a:prstGeom prst="rect">
            <a:avLst/>
          </a:prstGeom>
        </p:spPr>
        <p:txBody>
          <a:bodyPr wrap="none">
            <a:spAutoFit/>
          </a:bodyPr>
          <a:lstStyle/>
          <a:p>
            <a:r>
              <a:rPr lang="en-US" dirty="0" err="1" smtClean="0">
                <a:solidFill>
                  <a:schemeClr val="bg1"/>
                </a:solidFill>
              </a:rPr>
              <a:t>MapReduce</a:t>
            </a:r>
            <a:r>
              <a:rPr lang="en-US" dirty="0" smtClean="0">
                <a:solidFill>
                  <a:schemeClr val="bg1"/>
                </a:solidFill>
              </a:rPr>
              <a:t> Local Task</a:t>
            </a:r>
            <a:endParaRPr lang="en-IN" dirty="0">
              <a:solidFill>
                <a:schemeClr val="bg1"/>
              </a:solidFill>
            </a:endParaRPr>
          </a:p>
        </p:txBody>
      </p:sp>
      <p:sp>
        <p:nvSpPr>
          <p:cNvPr id="38" name="Rectangle 37"/>
          <p:cNvSpPr/>
          <p:nvPr/>
        </p:nvSpPr>
        <p:spPr bwMode="gray">
          <a:xfrm>
            <a:off x="1689101" y="1535668"/>
            <a:ext cx="609214" cy="369332"/>
          </a:xfrm>
          <a:prstGeom prst="rect">
            <a:avLst/>
          </a:prstGeom>
        </p:spPr>
        <p:txBody>
          <a:bodyPr wrap="square">
            <a:spAutoFit/>
          </a:bodyPr>
          <a:lstStyle/>
          <a:p>
            <a:r>
              <a:rPr lang="en-US" smtClean="0">
                <a:solidFill>
                  <a:schemeClr val="bg1"/>
                </a:solidFill>
              </a:rPr>
              <a:t>Task</a:t>
            </a:r>
            <a:endParaRPr lang="en-IN">
              <a:solidFill>
                <a:schemeClr val="bg1"/>
              </a:solidFill>
            </a:endParaRPr>
          </a:p>
        </p:txBody>
      </p:sp>
      <p:sp>
        <p:nvSpPr>
          <p:cNvPr id="39" name="Rectangle 38"/>
          <p:cNvSpPr/>
          <p:nvPr/>
        </p:nvSpPr>
        <p:spPr bwMode="gray">
          <a:xfrm>
            <a:off x="6184630" y="2939534"/>
            <a:ext cx="1854739" cy="369332"/>
          </a:xfrm>
          <a:prstGeom prst="rect">
            <a:avLst/>
          </a:prstGeom>
        </p:spPr>
        <p:txBody>
          <a:bodyPr wrap="none">
            <a:spAutoFit/>
          </a:bodyPr>
          <a:lstStyle/>
          <a:p>
            <a:r>
              <a:rPr lang="en-US" smtClean="0">
                <a:solidFill>
                  <a:schemeClr val="bg1"/>
                </a:solidFill>
              </a:rPr>
              <a:t>Distributed Cache</a:t>
            </a:r>
            <a:endParaRPr lang="en-IN">
              <a:solidFill>
                <a:schemeClr val="bg1"/>
              </a:solidFill>
            </a:endParaRPr>
          </a:p>
        </p:txBody>
      </p:sp>
      <p:sp>
        <p:nvSpPr>
          <p:cNvPr id="40" name="Rectangle 39"/>
          <p:cNvSpPr/>
          <p:nvPr/>
        </p:nvSpPr>
        <p:spPr bwMode="gray">
          <a:xfrm>
            <a:off x="1727585" y="4958834"/>
            <a:ext cx="583429" cy="369332"/>
          </a:xfrm>
          <a:prstGeom prst="rect">
            <a:avLst/>
          </a:prstGeom>
        </p:spPr>
        <p:txBody>
          <a:bodyPr wrap="none">
            <a:spAutoFit/>
          </a:bodyPr>
          <a:lstStyle/>
          <a:p>
            <a:r>
              <a:rPr lang="en-US">
                <a:solidFill>
                  <a:schemeClr val="bg1"/>
                </a:solidFill>
              </a:rPr>
              <a:t>Task</a:t>
            </a:r>
            <a:endParaRPr lang="en-IN">
              <a:solidFill>
                <a:schemeClr val="bg1"/>
              </a:solidFill>
            </a:endParaRPr>
          </a:p>
        </p:txBody>
      </p:sp>
    </p:spTree>
    <p:extLst>
      <p:ext uri="{BB962C8B-B14F-4D97-AF65-F5344CB8AC3E}">
        <p14:creationId xmlns:p14="http://schemas.microsoft.com/office/powerpoint/2010/main" val="879279908"/>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INPUT FORMAT</a:t>
            </a:r>
            <a:endParaRPr lang="en-IN"/>
          </a:p>
        </p:txBody>
      </p:sp>
      <p:grpSp>
        <p:nvGrpSpPr>
          <p:cNvPr id="38" name="Group 37"/>
          <p:cNvGrpSpPr/>
          <p:nvPr/>
        </p:nvGrpSpPr>
        <p:grpSpPr bwMode="gray">
          <a:xfrm>
            <a:off x="768350" y="1345648"/>
            <a:ext cx="7335838" cy="4483652"/>
            <a:chOff x="768350" y="1345648"/>
            <a:chExt cx="7335838" cy="4483652"/>
          </a:xfrm>
        </p:grpSpPr>
        <p:pic>
          <p:nvPicPr>
            <p:cNvPr id="9219"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10198" b="7033"/>
            <a:stretch/>
          </p:blipFill>
          <p:spPr bwMode="gray">
            <a:xfrm>
              <a:off x="1282700" y="1345648"/>
              <a:ext cx="6821488" cy="4204252"/>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p:cNvGrpSpPr/>
            <p:nvPr/>
          </p:nvGrpSpPr>
          <p:grpSpPr bwMode="gray">
            <a:xfrm>
              <a:off x="1539571" y="1445039"/>
              <a:ext cx="5814233" cy="596348"/>
              <a:chOff x="1539571" y="1445039"/>
              <a:chExt cx="5814233" cy="596348"/>
            </a:xfrm>
          </p:grpSpPr>
          <p:sp>
            <p:nvSpPr>
              <p:cNvPr id="31" name="Freeform 5"/>
              <p:cNvSpPr>
                <a:spLocks/>
              </p:cNvSpPr>
              <p:nvPr/>
            </p:nvSpPr>
            <p:spPr bwMode="gray">
              <a:xfrm>
                <a:off x="1539571" y="1445039"/>
                <a:ext cx="4373098" cy="596348"/>
              </a:xfrm>
              <a:custGeom>
                <a:avLst/>
                <a:gdLst>
                  <a:gd name="T0" fmla="+- 0 16200 5880"/>
                  <a:gd name="T1" fmla="*/ T0 w 10560"/>
                  <a:gd name="T2" fmla="+- 0 1420 1420"/>
                  <a:gd name="T3" fmla="*/ 1420 h 1440"/>
                  <a:gd name="T4" fmla="+- 0 6098 5880"/>
                  <a:gd name="T5" fmla="*/ T4 w 10560"/>
                  <a:gd name="T6" fmla="+- 0 1421 1420"/>
                  <a:gd name="T7" fmla="*/ 1421 h 1440"/>
                  <a:gd name="T8" fmla="+- 0 6032 5880"/>
                  <a:gd name="T9" fmla="*/ T8 w 10560"/>
                  <a:gd name="T10" fmla="+- 0 1437 1420"/>
                  <a:gd name="T11" fmla="*/ 1437 h 1440"/>
                  <a:gd name="T12" fmla="+- 0 5975 5880"/>
                  <a:gd name="T13" fmla="*/ T12 w 10560"/>
                  <a:gd name="T14" fmla="+- 0 1469 1420"/>
                  <a:gd name="T15" fmla="*/ 1469 h 1440"/>
                  <a:gd name="T16" fmla="+- 0 5929 5880"/>
                  <a:gd name="T17" fmla="*/ T16 w 10560"/>
                  <a:gd name="T18" fmla="+- 0 1515 1420"/>
                  <a:gd name="T19" fmla="*/ 1515 h 1440"/>
                  <a:gd name="T20" fmla="+- 0 5897 5880"/>
                  <a:gd name="T21" fmla="*/ T20 w 10560"/>
                  <a:gd name="T22" fmla="+- 0 1572 1420"/>
                  <a:gd name="T23" fmla="*/ 1572 h 1440"/>
                  <a:gd name="T24" fmla="+- 0 5881 5880"/>
                  <a:gd name="T25" fmla="*/ T24 w 10560"/>
                  <a:gd name="T26" fmla="+- 0 1637 1420"/>
                  <a:gd name="T27" fmla="*/ 1637 h 1440"/>
                  <a:gd name="T28" fmla="+- 0 5880 5880"/>
                  <a:gd name="T29" fmla="*/ T28 w 10560"/>
                  <a:gd name="T30" fmla="+- 0 1660 1420"/>
                  <a:gd name="T31" fmla="*/ 1660 h 1440"/>
                  <a:gd name="T32" fmla="+- 0 5881 5880"/>
                  <a:gd name="T33" fmla="*/ T32 w 10560"/>
                  <a:gd name="T34" fmla="+- 0 2620 1420"/>
                  <a:gd name="T35" fmla="*/ 2620 h 1440"/>
                  <a:gd name="T36" fmla="+- 0 5889 5880"/>
                  <a:gd name="T37" fmla="*/ T36 w 10560"/>
                  <a:gd name="T38" fmla="+- 0 2687 1420"/>
                  <a:gd name="T39" fmla="*/ 2687 h 1440"/>
                  <a:gd name="T40" fmla="+- 0 5916 5880"/>
                  <a:gd name="T41" fmla="*/ T40 w 10560"/>
                  <a:gd name="T42" fmla="+- 0 2747 1420"/>
                  <a:gd name="T43" fmla="*/ 2747 h 1440"/>
                  <a:gd name="T44" fmla="+- 0 5958 5880"/>
                  <a:gd name="T45" fmla="*/ T44 w 10560"/>
                  <a:gd name="T46" fmla="+- 0 2797 1420"/>
                  <a:gd name="T47" fmla="*/ 2797 h 1440"/>
                  <a:gd name="T48" fmla="+- 0 6011 5880"/>
                  <a:gd name="T49" fmla="*/ T48 w 10560"/>
                  <a:gd name="T50" fmla="+- 0 2834 1420"/>
                  <a:gd name="T51" fmla="*/ 2834 h 1440"/>
                  <a:gd name="T52" fmla="+- 0 6074 5880"/>
                  <a:gd name="T53" fmla="*/ T52 w 10560"/>
                  <a:gd name="T54" fmla="+- 0 2856 1420"/>
                  <a:gd name="T55" fmla="*/ 2856 h 1440"/>
                  <a:gd name="T56" fmla="+- 0 6120 5880"/>
                  <a:gd name="T57" fmla="*/ T56 w 10560"/>
                  <a:gd name="T58" fmla="+- 0 2860 1420"/>
                  <a:gd name="T59" fmla="*/ 2860 h 1440"/>
                  <a:gd name="T60" fmla="+- 0 16222 5880"/>
                  <a:gd name="T61" fmla="*/ T60 w 10560"/>
                  <a:gd name="T62" fmla="+- 0 2859 1420"/>
                  <a:gd name="T63" fmla="*/ 2859 h 1440"/>
                  <a:gd name="T64" fmla="+- 0 16288 5880"/>
                  <a:gd name="T65" fmla="*/ T64 w 10560"/>
                  <a:gd name="T66" fmla="+- 0 2843 1420"/>
                  <a:gd name="T67" fmla="*/ 2843 h 1440"/>
                  <a:gd name="T68" fmla="+- 0 16345 5880"/>
                  <a:gd name="T69" fmla="*/ T68 w 10560"/>
                  <a:gd name="T70" fmla="+- 0 2811 1420"/>
                  <a:gd name="T71" fmla="*/ 2811 h 1440"/>
                  <a:gd name="T72" fmla="+- 0 16391 5880"/>
                  <a:gd name="T73" fmla="*/ T72 w 10560"/>
                  <a:gd name="T74" fmla="+- 0 2765 1420"/>
                  <a:gd name="T75" fmla="*/ 2765 h 1440"/>
                  <a:gd name="T76" fmla="+- 0 16423 5880"/>
                  <a:gd name="T77" fmla="*/ T76 w 10560"/>
                  <a:gd name="T78" fmla="+- 0 2708 1420"/>
                  <a:gd name="T79" fmla="*/ 2708 h 1440"/>
                  <a:gd name="T80" fmla="+- 0 16439 5880"/>
                  <a:gd name="T81" fmla="*/ T80 w 10560"/>
                  <a:gd name="T82" fmla="+- 0 2643 1420"/>
                  <a:gd name="T83" fmla="*/ 2643 h 1440"/>
                  <a:gd name="T84" fmla="+- 0 16440 5880"/>
                  <a:gd name="T85" fmla="*/ T84 w 10560"/>
                  <a:gd name="T86" fmla="+- 0 2620 1420"/>
                  <a:gd name="T87" fmla="*/ 2620 h 1440"/>
                  <a:gd name="T88" fmla="+- 0 16439 5880"/>
                  <a:gd name="T89" fmla="*/ T88 w 10560"/>
                  <a:gd name="T90" fmla="+- 0 1660 1420"/>
                  <a:gd name="T91" fmla="*/ 1660 h 1440"/>
                  <a:gd name="T92" fmla="+- 0 16431 5880"/>
                  <a:gd name="T93" fmla="*/ T92 w 10560"/>
                  <a:gd name="T94" fmla="+- 0 1593 1420"/>
                  <a:gd name="T95" fmla="*/ 1593 h 1440"/>
                  <a:gd name="T96" fmla="+- 0 16404 5880"/>
                  <a:gd name="T97" fmla="*/ T96 w 10560"/>
                  <a:gd name="T98" fmla="+- 0 1533 1420"/>
                  <a:gd name="T99" fmla="*/ 1533 h 1440"/>
                  <a:gd name="T100" fmla="+- 0 16362 5880"/>
                  <a:gd name="T101" fmla="*/ T100 w 10560"/>
                  <a:gd name="T102" fmla="+- 0 1483 1420"/>
                  <a:gd name="T103" fmla="*/ 1483 h 1440"/>
                  <a:gd name="T104" fmla="+- 0 16309 5880"/>
                  <a:gd name="T105" fmla="*/ T104 w 10560"/>
                  <a:gd name="T106" fmla="+- 0 1446 1420"/>
                  <a:gd name="T107" fmla="*/ 1446 h 1440"/>
                  <a:gd name="T108" fmla="+- 0 16246 5880"/>
                  <a:gd name="T109" fmla="*/ T108 w 10560"/>
                  <a:gd name="T110" fmla="+- 0 1424 1420"/>
                  <a:gd name="T111" fmla="*/ 1424 h 1440"/>
                  <a:gd name="T112" fmla="+- 0 16200 5880"/>
                  <a:gd name="T113" fmla="*/ T112 w 10560"/>
                  <a:gd name="T114" fmla="+- 0 1420 1420"/>
                  <a:gd name="T115" fmla="*/ 1420 h 1440"/>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Lst>
                <a:rect l="0" t="0" r="r" b="b"/>
                <a:pathLst>
                  <a:path w="10560" h="1440">
                    <a:moveTo>
                      <a:pt x="10320" y="0"/>
                    </a:moveTo>
                    <a:lnTo>
                      <a:pt x="218" y="1"/>
                    </a:lnTo>
                    <a:lnTo>
                      <a:pt x="152" y="17"/>
                    </a:lnTo>
                    <a:lnTo>
                      <a:pt x="95" y="49"/>
                    </a:lnTo>
                    <a:lnTo>
                      <a:pt x="49" y="95"/>
                    </a:lnTo>
                    <a:lnTo>
                      <a:pt x="17" y="152"/>
                    </a:lnTo>
                    <a:lnTo>
                      <a:pt x="1" y="217"/>
                    </a:lnTo>
                    <a:lnTo>
                      <a:pt x="0" y="240"/>
                    </a:lnTo>
                    <a:lnTo>
                      <a:pt x="1" y="1200"/>
                    </a:lnTo>
                    <a:lnTo>
                      <a:pt x="9" y="1267"/>
                    </a:lnTo>
                    <a:lnTo>
                      <a:pt x="36" y="1327"/>
                    </a:lnTo>
                    <a:lnTo>
                      <a:pt x="78" y="1377"/>
                    </a:lnTo>
                    <a:lnTo>
                      <a:pt x="131" y="1414"/>
                    </a:lnTo>
                    <a:lnTo>
                      <a:pt x="194" y="1436"/>
                    </a:lnTo>
                    <a:lnTo>
                      <a:pt x="240" y="1440"/>
                    </a:lnTo>
                    <a:lnTo>
                      <a:pt x="10342" y="1439"/>
                    </a:lnTo>
                    <a:lnTo>
                      <a:pt x="10408" y="1423"/>
                    </a:lnTo>
                    <a:lnTo>
                      <a:pt x="10465" y="1391"/>
                    </a:lnTo>
                    <a:lnTo>
                      <a:pt x="10511" y="1345"/>
                    </a:lnTo>
                    <a:lnTo>
                      <a:pt x="10543" y="1288"/>
                    </a:lnTo>
                    <a:lnTo>
                      <a:pt x="10559" y="1223"/>
                    </a:lnTo>
                    <a:lnTo>
                      <a:pt x="10560" y="1200"/>
                    </a:lnTo>
                    <a:lnTo>
                      <a:pt x="10559" y="240"/>
                    </a:lnTo>
                    <a:lnTo>
                      <a:pt x="10551" y="173"/>
                    </a:lnTo>
                    <a:lnTo>
                      <a:pt x="10524" y="113"/>
                    </a:lnTo>
                    <a:lnTo>
                      <a:pt x="10482" y="63"/>
                    </a:lnTo>
                    <a:lnTo>
                      <a:pt x="10429" y="26"/>
                    </a:lnTo>
                    <a:lnTo>
                      <a:pt x="10366" y="4"/>
                    </a:lnTo>
                    <a:lnTo>
                      <a:pt x="10320" y="0"/>
                    </a:ln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a:solidFill>
                      <a:schemeClr val="bg1"/>
                    </a:solidFill>
                  </a:rPr>
                  <a:t>Input File</a:t>
                </a:r>
                <a:endParaRPr lang="en-IN">
                  <a:solidFill>
                    <a:schemeClr val="bg1"/>
                  </a:solidFill>
                </a:endParaRPr>
              </a:p>
            </p:txBody>
          </p:sp>
          <p:sp>
            <p:nvSpPr>
              <p:cNvPr id="30" name="Freeform 7"/>
              <p:cNvSpPr>
                <a:spLocks/>
              </p:cNvSpPr>
              <p:nvPr/>
            </p:nvSpPr>
            <p:spPr bwMode="gray">
              <a:xfrm>
                <a:off x="6061752" y="1445039"/>
                <a:ext cx="1292052" cy="596348"/>
              </a:xfrm>
              <a:custGeom>
                <a:avLst/>
                <a:gdLst>
                  <a:gd name="T0" fmla="+- 0 19680 16800"/>
                  <a:gd name="T1" fmla="*/ T0 w 3120"/>
                  <a:gd name="T2" fmla="+- 0 1420 1420"/>
                  <a:gd name="T3" fmla="*/ 1420 h 1440"/>
                  <a:gd name="T4" fmla="+- 0 17018 16800"/>
                  <a:gd name="T5" fmla="*/ T4 w 3120"/>
                  <a:gd name="T6" fmla="+- 0 1421 1420"/>
                  <a:gd name="T7" fmla="*/ 1421 h 1440"/>
                  <a:gd name="T8" fmla="+- 0 16952 16800"/>
                  <a:gd name="T9" fmla="*/ T8 w 3120"/>
                  <a:gd name="T10" fmla="+- 0 1437 1420"/>
                  <a:gd name="T11" fmla="*/ 1437 h 1440"/>
                  <a:gd name="T12" fmla="+- 0 16895 16800"/>
                  <a:gd name="T13" fmla="*/ T12 w 3120"/>
                  <a:gd name="T14" fmla="+- 0 1469 1420"/>
                  <a:gd name="T15" fmla="*/ 1469 h 1440"/>
                  <a:gd name="T16" fmla="+- 0 16849 16800"/>
                  <a:gd name="T17" fmla="*/ T16 w 3120"/>
                  <a:gd name="T18" fmla="+- 0 1515 1420"/>
                  <a:gd name="T19" fmla="*/ 1515 h 1440"/>
                  <a:gd name="T20" fmla="+- 0 16817 16800"/>
                  <a:gd name="T21" fmla="*/ T20 w 3120"/>
                  <a:gd name="T22" fmla="+- 0 1572 1420"/>
                  <a:gd name="T23" fmla="*/ 1572 h 1440"/>
                  <a:gd name="T24" fmla="+- 0 16801 16800"/>
                  <a:gd name="T25" fmla="*/ T24 w 3120"/>
                  <a:gd name="T26" fmla="+- 0 1637 1420"/>
                  <a:gd name="T27" fmla="*/ 1637 h 1440"/>
                  <a:gd name="T28" fmla="+- 0 16800 16800"/>
                  <a:gd name="T29" fmla="*/ T28 w 3120"/>
                  <a:gd name="T30" fmla="+- 0 1660 1420"/>
                  <a:gd name="T31" fmla="*/ 1660 h 1440"/>
                  <a:gd name="T32" fmla="+- 0 16801 16800"/>
                  <a:gd name="T33" fmla="*/ T32 w 3120"/>
                  <a:gd name="T34" fmla="+- 0 2620 1420"/>
                  <a:gd name="T35" fmla="*/ 2620 h 1440"/>
                  <a:gd name="T36" fmla="+- 0 16809 16800"/>
                  <a:gd name="T37" fmla="*/ T36 w 3120"/>
                  <a:gd name="T38" fmla="+- 0 2687 1420"/>
                  <a:gd name="T39" fmla="*/ 2687 h 1440"/>
                  <a:gd name="T40" fmla="+- 0 16836 16800"/>
                  <a:gd name="T41" fmla="*/ T40 w 3120"/>
                  <a:gd name="T42" fmla="+- 0 2747 1420"/>
                  <a:gd name="T43" fmla="*/ 2747 h 1440"/>
                  <a:gd name="T44" fmla="+- 0 16878 16800"/>
                  <a:gd name="T45" fmla="*/ T44 w 3120"/>
                  <a:gd name="T46" fmla="+- 0 2797 1420"/>
                  <a:gd name="T47" fmla="*/ 2797 h 1440"/>
                  <a:gd name="T48" fmla="+- 0 16931 16800"/>
                  <a:gd name="T49" fmla="*/ T48 w 3120"/>
                  <a:gd name="T50" fmla="+- 0 2834 1420"/>
                  <a:gd name="T51" fmla="*/ 2834 h 1440"/>
                  <a:gd name="T52" fmla="+- 0 16994 16800"/>
                  <a:gd name="T53" fmla="*/ T52 w 3120"/>
                  <a:gd name="T54" fmla="+- 0 2856 1420"/>
                  <a:gd name="T55" fmla="*/ 2856 h 1440"/>
                  <a:gd name="T56" fmla="+- 0 17040 16800"/>
                  <a:gd name="T57" fmla="*/ T56 w 3120"/>
                  <a:gd name="T58" fmla="+- 0 2860 1420"/>
                  <a:gd name="T59" fmla="*/ 2860 h 1440"/>
                  <a:gd name="T60" fmla="+- 0 19702 16800"/>
                  <a:gd name="T61" fmla="*/ T60 w 3120"/>
                  <a:gd name="T62" fmla="+- 0 2859 1420"/>
                  <a:gd name="T63" fmla="*/ 2859 h 1440"/>
                  <a:gd name="T64" fmla="+- 0 19768 16800"/>
                  <a:gd name="T65" fmla="*/ T64 w 3120"/>
                  <a:gd name="T66" fmla="+- 0 2843 1420"/>
                  <a:gd name="T67" fmla="*/ 2843 h 1440"/>
                  <a:gd name="T68" fmla="+- 0 19825 16800"/>
                  <a:gd name="T69" fmla="*/ T68 w 3120"/>
                  <a:gd name="T70" fmla="+- 0 2811 1420"/>
                  <a:gd name="T71" fmla="*/ 2811 h 1440"/>
                  <a:gd name="T72" fmla="+- 0 19871 16800"/>
                  <a:gd name="T73" fmla="*/ T72 w 3120"/>
                  <a:gd name="T74" fmla="+- 0 2765 1420"/>
                  <a:gd name="T75" fmla="*/ 2765 h 1440"/>
                  <a:gd name="T76" fmla="+- 0 19903 16800"/>
                  <a:gd name="T77" fmla="*/ T76 w 3120"/>
                  <a:gd name="T78" fmla="+- 0 2708 1420"/>
                  <a:gd name="T79" fmla="*/ 2708 h 1440"/>
                  <a:gd name="T80" fmla="+- 0 19919 16800"/>
                  <a:gd name="T81" fmla="*/ T80 w 3120"/>
                  <a:gd name="T82" fmla="+- 0 2643 1420"/>
                  <a:gd name="T83" fmla="*/ 2643 h 1440"/>
                  <a:gd name="T84" fmla="+- 0 19920 16800"/>
                  <a:gd name="T85" fmla="*/ T84 w 3120"/>
                  <a:gd name="T86" fmla="+- 0 2620 1420"/>
                  <a:gd name="T87" fmla="*/ 2620 h 1440"/>
                  <a:gd name="T88" fmla="+- 0 19919 16800"/>
                  <a:gd name="T89" fmla="*/ T88 w 3120"/>
                  <a:gd name="T90" fmla="+- 0 1660 1420"/>
                  <a:gd name="T91" fmla="*/ 1660 h 1440"/>
                  <a:gd name="T92" fmla="+- 0 19911 16800"/>
                  <a:gd name="T93" fmla="*/ T92 w 3120"/>
                  <a:gd name="T94" fmla="+- 0 1593 1420"/>
                  <a:gd name="T95" fmla="*/ 1593 h 1440"/>
                  <a:gd name="T96" fmla="+- 0 19884 16800"/>
                  <a:gd name="T97" fmla="*/ T96 w 3120"/>
                  <a:gd name="T98" fmla="+- 0 1533 1420"/>
                  <a:gd name="T99" fmla="*/ 1533 h 1440"/>
                  <a:gd name="T100" fmla="+- 0 19842 16800"/>
                  <a:gd name="T101" fmla="*/ T100 w 3120"/>
                  <a:gd name="T102" fmla="+- 0 1483 1420"/>
                  <a:gd name="T103" fmla="*/ 1483 h 1440"/>
                  <a:gd name="T104" fmla="+- 0 19789 16800"/>
                  <a:gd name="T105" fmla="*/ T104 w 3120"/>
                  <a:gd name="T106" fmla="+- 0 1446 1420"/>
                  <a:gd name="T107" fmla="*/ 1446 h 1440"/>
                  <a:gd name="T108" fmla="+- 0 19726 16800"/>
                  <a:gd name="T109" fmla="*/ T108 w 3120"/>
                  <a:gd name="T110" fmla="+- 0 1424 1420"/>
                  <a:gd name="T111" fmla="*/ 1424 h 1440"/>
                  <a:gd name="T112" fmla="+- 0 19680 16800"/>
                  <a:gd name="T113" fmla="*/ T112 w 3120"/>
                  <a:gd name="T114" fmla="+- 0 1420 1420"/>
                  <a:gd name="T115" fmla="*/ 1420 h 1440"/>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Lst>
                <a:rect l="0" t="0" r="r" b="b"/>
                <a:pathLst>
                  <a:path w="3120" h="1440">
                    <a:moveTo>
                      <a:pt x="2880" y="0"/>
                    </a:moveTo>
                    <a:lnTo>
                      <a:pt x="218" y="1"/>
                    </a:lnTo>
                    <a:lnTo>
                      <a:pt x="152" y="17"/>
                    </a:lnTo>
                    <a:lnTo>
                      <a:pt x="95" y="49"/>
                    </a:lnTo>
                    <a:lnTo>
                      <a:pt x="49" y="95"/>
                    </a:lnTo>
                    <a:lnTo>
                      <a:pt x="17" y="152"/>
                    </a:lnTo>
                    <a:lnTo>
                      <a:pt x="1" y="217"/>
                    </a:lnTo>
                    <a:lnTo>
                      <a:pt x="0" y="240"/>
                    </a:lnTo>
                    <a:lnTo>
                      <a:pt x="1" y="1200"/>
                    </a:lnTo>
                    <a:lnTo>
                      <a:pt x="9" y="1267"/>
                    </a:lnTo>
                    <a:lnTo>
                      <a:pt x="36" y="1327"/>
                    </a:lnTo>
                    <a:lnTo>
                      <a:pt x="78" y="1377"/>
                    </a:lnTo>
                    <a:lnTo>
                      <a:pt x="131" y="1414"/>
                    </a:lnTo>
                    <a:lnTo>
                      <a:pt x="194" y="1436"/>
                    </a:lnTo>
                    <a:lnTo>
                      <a:pt x="240" y="1440"/>
                    </a:lnTo>
                    <a:lnTo>
                      <a:pt x="2902" y="1439"/>
                    </a:lnTo>
                    <a:lnTo>
                      <a:pt x="2968" y="1423"/>
                    </a:lnTo>
                    <a:lnTo>
                      <a:pt x="3025" y="1391"/>
                    </a:lnTo>
                    <a:lnTo>
                      <a:pt x="3071" y="1345"/>
                    </a:lnTo>
                    <a:lnTo>
                      <a:pt x="3103" y="1288"/>
                    </a:lnTo>
                    <a:lnTo>
                      <a:pt x="3119" y="1223"/>
                    </a:lnTo>
                    <a:lnTo>
                      <a:pt x="3120" y="1200"/>
                    </a:lnTo>
                    <a:lnTo>
                      <a:pt x="3119" y="240"/>
                    </a:lnTo>
                    <a:lnTo>
                      <a:pt x="3111" y="173"/>
                    </a:lnTo>
                    <a:lnTo>
                      <a:pt x="3084" y="113"/>
                    </a:lnTo>
                    <a:lnTo>
                      <a:pt x="3042" y="63"/>
                    </a:lnTo>
                    <a:lnTo>
                      <a:pt x="2989" y="26"/>
                    </a:lnTo>
                    <a:lnTo>
                      <a:pt x="2926" y="4"/>
                    </a:lnTo>
                    <a:lnTo>
                      <a:pt x="2880" y="0"/>
                    </a:ln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a:solidFill>
                      <a:schemeClr val="bg1"/>
                    </a:solidFill>
                  </a:rPr>
                  <a:t>Input File</a:t>
                </a:r>
                <a:endParaRPr lang="en-IN">
                  <a:solidFill>
                    <a:schemeClr val="bg1"/>
                  </a:solidFill>
                </a:endParaRPr>
              </a:p>
            </p:txBody>
          </p:sp>
        </p:grpSp>
        <p:sp>
          <p:nvSpPr>
            <p:cNvPr id="29" name="Freeform 9"/>
            <p:cNvSpPr>
              <a:spLocks/>
            </p:cNvSpPr>
            <p:nvPr/>
          </p:nvSpPr>
          <p:spPr bwMode="gray">
            <a:xfrm>
              <a:off x="1539571" y="2488648"/>
              <a:ext cx="1341746" cy="546652"/>
            </a:xfrm>
            <a:custGeom>
              <a:avLst/>
              <a:gdLst>
                <a:gd name="T0" fmla="+- 0 8790 5880"/>
                <a:gd name="T1" fmla="*/ T0 w 3240"/>
                <a:gd name="T2" fmla="+- 0 3940 3940"/>
                <a:gd name="T3" fmla="*/ 3940 h 1320"/>
                <a:gd name="T4" fmla="+- 0 6210 5880"/>
                <a:gd name="T5" fmla="*/ T4 w 3240"/>
                <a:gd name="T6" fmla="+- 0 3940 3940"/>
                <a:gd name="T7" fmla="*/ 3940 h 1320"/>
                <a:gd name="T8" fmla="+- 0 5880 5880"/>
                <a:gd name="T9" fmla="*/ T8 w 3240"/>
                <a:gd name="T10" fmla="+- 0 4600 3940"/>
                <a:gd name="T11" fmla="*/ 4600 h 1320"/>
                <a:gd name="T12" fmla="+- 0 6210 5880"/>
                <a:gd name="T13" fmla="*/ T12 w 3240"/>
                <a:gd name="T14" fmla="+- 0 5260 3940"/>
                <a:gd name="T15" fmla="*/ 5260 h 1320"/>
                <a:gd name="T16" fmla="+- 0 8790 5880"/>
                <a:gd name="T17" fmla="*/ T16 w 3240"/>
                <a:gd name="T18" fmla="+- 0 5260 3940"/>
                <a:gd name="T19" fmla="*/ 5260 h 1320"/>
                <a:gd name="T20" fmla="+- 0 9120 5880"/>
                <a:gd name="T21" fmla="*/ T20 w 3240"/>
                <a:gd name="T22" fmla="+- 0 4600 3940"/>
                <a:gd name="T23" fmla="*/ 4600 h 1320"/>
                <a:gd name="T24" fmla="+- 0 8790 5880"/>
                <a:gd name="T25" fmla="*/ T24 w 3240"/>
                <a:gd name="T26" fmla="+- 0 3940 3940"/>
                <a:gd name="T27" fmla="*/ 3940 h 1320"/>
              </a:gdLst>
              <a:ahLst/>
              <a:cxnLst>
                <a:cxn ang="0">
                  <a:pos x="T1" y="T3"/>
                </a:cxn>
                <a:cxn ang="0">
                  <a:pos x="T5" y="T7"/>
                </a:cxn>
                <a:cxn ang="0">
                  <a:pos x="T9" y="T11"/>
                </a:cxn>
                <a:cxn ang="0">
                  <a:pos x="T13" y="T15"/>
                </a:cxn>
                <a:cxn ang="0">
                  <a:pos x="T17" y="T19"/>
                </a:cxn>
                <a:cxn ang="0">
                  <a:pos x="T21" y="T23"/>
                </a:cxn>
                <a:cxn ang="0">
                  <a:pos x="T25" y="T27"/>
                </a:cxn>
              </a:cxnLst>
              <a:rect l="0" t="0" r="r" b="b"/>
              <a:pathLst>
                <a:path w="3240" h="1320">
                  <a:moveTo>
                    <a:pt x="2910" y="0"/>
                  </a:moveTo>
                  <a:lnTo>
                    <a:pt x="330" y="0"/>
                  </a:lnTo>
                  <a:lnTo>
                    <a:pt x="0" y="660"/>
                  </a:lnTo>
                  <a:lnTo>
                    <a:pt x="330" y="1320"/>
                  </a:lnTo>
                  <a:lnTo>
                    <a:pt x="2910" y="1320"/>
                  </a:lnTo>
                  <a:lnTo>
                    <a:pt x="3240" y="660"/>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a:solidFill>
                    <a:schemeClr val="bg1"/>
                  </a:solidFill>
                </a:rPr>
                <a:t>InputSplit</a:t>
              </a:r>
              <a:endParaRPr lang="en-IN">
                <a:solidFill>
                  <a:schemeClr val="bg1"/>
                </a:solidFill>
              </a:endParaRPr>
            </a:p>
          </p:txBody>
        </p:sp>
        <p:sp>
          <p:nvSpPr>
            <p:cNvPr id="28" name="Freeform 11"/>
            <p:cNvSpPr>
              <a:spLocks/>
            </p:cNvSpPr>
            <p:nvPr/>
          </p:nvSpPr>
          <p:spPr bwMode="gray">
            <a:xfrm>
              <a:off x="3055247" y="2488648"/>
              <a:ext cx="1341746" cy="546652"/>
            </a:xfrm>
            <a:custGeom>
              <a:avLst/>
              <a:gdLst>
                <a:gd name="T0" fmla="+- 0 12450 9540"/>
                <a:gd name="T1" fmla="*/ T0 w 3240"/>
                <a:gd name="T2" fmla="+- 0 3940 3940"/>
                <a:gd name="T3" fmla="*/ 3940 h 1320"/>
                <a:gd name="T4" fmla="+- 0 9870 9540"/>
                <a:gd name="T5" fmla="*/ T4 w 3240"/>
                <a:gd name="T6" fmla="+- 0 3940 3940"/>
                <a:gd name="T7" fmla="*/ 3940 h 1320"/>
                <a:gd name="T8" fmla="+- 0 9540 9540"/>
                <a:gd name="T9" fmla="*/ T8 w 3240"/>
                <a:gd name="T10" fmla="+- 0 4600 3940"/>
                <a:gd name="T11" fmla="*/ 4600 h 1320"/>
                <a:gd name="T12" fmla="+- 0 9870 9540"/>
                <a:gd name="T13" fmla="*/ T12 w 3240"/>
                <a:gd name="T14" fmla="+- 0 5260 3940"/>
                <a:gd name="T15" fmla="*/ 5260 h 1320"/>
                <a:gd name="T16" fmla="+- 0 12450 9540"/>
                <a:gd name="T17" fmla="*/ T16 w 3240"/>
                <a:gd name="T18" fmla="+- 0 5260 3940"/>
                <a:gd name="T19" fmla="*/ 5260 h 1320"/>
                <a:gd name="T20" fmla="+- 0 12780 9540"/>
                <a:gd name="T21" fmla="*/ T20 w 3240"/>
                <a:gd name="T22" fmla="+- 0 4600 3940"/>
                <a:gd name="T23" fmla="*/ 4600 h 1320"/>
                <a:gd name="T24" fmla="+- 0 12450 9540"/>
                <a:gd name="T25" fmla="*/ T24 w 3240"/>
                <a:gd name="T26" fmla="+- 0 3940 3940"/>
                <a:gd name="T27" fmla="*/ 3940 h 1320"/>
              </a:gdLst>
              <a:ahLst/>
              <a:cxnLst>
                <a:cxn ang="0">
                  <a:pos x="T1" y="T3"/>
                </a:cxn>
                <a:cxn ang="0">
                  <a:pos x="T5" y="T7"/>
                </a:cxn>
                <a:cxn ang="0">
                  <a:pos x="T9" y="T11"/>
                </a:cxn>
                <a:cxn ang="0">
                  <a:pos x="T13" y="T15"/>
                </a:cxn>
                <a:cxn ang="0">
                  <a:pos x="T17" y="T19"/>
                </a:cxn>
                <a:cxn ang="0">
                  <a:pos x="T21" y="T23"/>
                </a:cxn>
                <a:cxn ang="0">
                  <a:pos x="T25" y="T27"/>
                </a:cxn>
              </a:cxnLst>
              <a:rect l="0" t="0" r="r" b="b"/>
              <a:pathLst>
                <a:path w="3240" h="1320">
                  <a:moveTo>
                    <a:pt x="2910" y="0"/>
                  </a:moveTo>
                  <a:lnTo>
                    <a:pt x="330" y="0"/>
                  </a:lnTo>
                  <a:lnTo>
                    <a:pt x="0" y="660"/>
                  </a:lnTo>
                  <a:lnTo>
                    <a:pt x="330" y="1320"/>
                  </a:lnTo>
                  <a:lnTo>
                    <a:pt x="2910" y="1320"/>
                  </a:lnTo>
                  <a:lnTo>
                    <a:pt x="3240" y="660"/>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a:solidFill>
                    <a:schemeClr val="bg1"/>
                  </a:solidFill>
                </a:rPr>
                <a:t>InputSplit</a:t>
              </a:r>
              <a:endParaRPr lang="en-IN">
                <a:solidFill>
                  <a:schemeClr val="bg1"/>
                </a:solidFill>
              </a:endParaRPr>
            </a:p>
          </p:txBody>
        </p:sp>
        <p:sp>
          <p:nvSpPr>
            <p:cNvPr id="27" name="Freeform 13"/>
            <p:cNvSpPr>
              <a:spLocks/>
            </p:cNvSpPr>
            <p:nvPr/>
          </p:nvSpPr>
          <p:spPr bwMode="gray">
            <a:xfrm>
              <a:off x="4570923" y="2488648"/>
              <a:ext cx="1341746" cy="546652"/>
            </a:xfrm>
            <a:custGeom>
              <a:avLst/>
              <a:gdLst>
                <a:gd name="T0" fmla="+- 0 16110 13200"/>
                <a:gd name="T1" fmla="*/ T0 w 3240"/>
                <a:gd name="T2" fmla="+- 0 3940 3940"/>
                <a:gd name="T3" fmla="*/ 3940 h 1320"/>
                <a:gd name="T4" fmla="+- 0 13530 13200"/>
                <a:gd name="T5" fmla="*/ T4 w 3240"/>
                <a:gd name="T6" fmla="+- 0 3940 3940"/>
                <a:gd name="T7" fmla="*/ 3940 h 1320"/>
                <a:gd name="T8" fmla="+- 0 13200 13200"/>
                <a:gd name="T9" fmla="*/ T8 w 3240"/>
                <a:gd name="T10" fmla="+- 0 4600 3940"/>
                <a:gd name="T11" fmla="*/ 4600 h 1320"/>
                <a:gd name="T12" fmla="+- 0 13530 13200"/>
                <a:gd name="T13" fmla="*/ T12 w 3240"/>
                <a:gd name="T14" fmla="+- 0 5260 3940"/>
                <a:gd name="T15" fmla="*/ 5260 h 1320"/>
                <a:gd name="T16" fmla="+- 0 16110 13200"/>
                <a:gd name="T17" fmla="*/ T16 w 3240"/>
                <a:gd name="T18" fmla="+- 0 5260 3940"/>
                <a:gd name="T19" fmla="*/ 5260 h 1320"/>
                <a:gd name="T20" fmla="+- 0 16440 13200"/>
                <a:gd name="T21" fmla="*/ T20 w 3240"/>
                <a:gd name="T22" fmla="+- 0 4600 3940"/>
                <a:gd name="T23" fmla="*/ 4600 h 1320"/>
                <a:gd name="T24" fmla="+- 0 16110 13200"/>
                <a:gd name="T25" fmla="*/ T24 w 3240"/>
                <a:gd name="T26" fmla="+- 0 3940 3940"/>
                <a:gd name="T27" fmla="*/ 3940 h 1320"/>
              </a:gdLst>
              <a:ahLst/>
              <a:cxnLst>
                <a:cxn ang="0">
                  <a:pos x="T1" y="T3"/>
                </a:cxn>
                <a:cxn ang="0">
                  <a:pos x="T5" y="T7"/>
                </a:cxn>
                <a:cxn ang="0">
                  <a:pos x="T9" y="T11"/>
                </a:cxn>
                <a:cxn ang="0">
                  <a:pos x="T13" y="T15"/>
                </a:cxn>
                <a:cxn ang="0">
                  <a:pos x="T17" y="T19"/>
                </a:cxn>
                <a:cxn ang="0">
                  <a:pos x="T21" y="T23"/>
                </a:cxn>
                <a:cxn ang="0">
                  <a:pos x="T25" y="T27"/>
                </a:cxn>
              </a:cxnLst>
              <a:rect l="0" t="0" r="r" b="b"/>
              <a:pathLst>
                <a:path w="3240" h="1320">
                  <a:moveTo>
                    <a:pt x="2910" y="0"/>
                  </a:moveTo>
                  <a:lnTo>
                    <a:pt x="330" y="0"/>
                  </a:lnTo>
                  <a:lnTo>
                    <a:pt x="0" y="660"/>
                  </a:lnTo>
                  <a:lnTo>
                    <a:pt x="330" y="1320"/>
                  </a:lnTo>
                  <a:lnTo>
                    <a:pt x="2910" y="1320"/>
                  </a:lnTo>
                  <a:lnTo>
                    <a:pt x="3240" y="660"/>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a:solidFill>
                    <a:schemeClr val="bg1"/>
                  </a:solidFill>
                </a:rPr>
                <a:t>InputSplit</a:t>
              </a:r>
              <a:endParaRPr lang="en-IN">
                <a:solidFill>
                  <a:schemeClr val="bg1"/>
                </a:solidFill>
              </a:endParaRPr>
            </a:p>
          </p:txBody>
        </p:sp>
        <p:sp>
          <p:nvSpPr>
            <p:cNvPr id="26" name="Freeform 15"/>
            <p:cNvSpPr>
              <a:spLocks/>
            </p:cNvSpPr>
            <p:nvPr/>
          </p:nvSpPr>
          <p:spPr bwMode="gray">
            <a:xfrm>
              <a:off x="6036905" y="2488648"/>
              <a:ext cx="1341746" cy="546652"/>
            </a:xfrm>
            <a:custGeom>
              <a:avLst/>
              <a:gdLst>
                <a:gd name="T0" fmla="+- 0 19650 16740"/>
                <a:gd name="T1" fmla="*/ T0 w 3240"/>
                <a:gd name="T2" fmla="+- 0 3940 3940"/>
                <a:gd name="T3" fmla="*/ 3940 h 1320"/>
                <a:gd name="T4" fmla="+- 0 17070 16740"/>
                <a:gd name="T5" fmla="*/ T4 w 3240"/>
                <a:gd name="T6" fmla="+- 0 3940 3940"/>
                <a:gd name="T7" fmla="*/ 3940 h 1320"/>
                <a:gd name="T8" fmla="+- 0 16740 16740"/>
                <a:gd name="T9" fmla="*/ T8 w 3240"/>
                <a:gd name="T10" fmla="+- 0 4600 3940"/>
                <a:gd name="T11" fmla="*/ 4600 h 1320"/>
                <a:gd name="T12" fmla="+- 0 17070 16740"/>
                <a:gd name="T13" fmla="*/ T12 w 3240"/>
                <a:gd name="T14" fmla="+- 0 5260 3940"/>
                <a:gd name="T15" fmla="*/ 5260 h 1320"/>
                <a:gd name="T16" fmla="+- 0 19650 16740"/>
                <a:gd name="T17" fmla="*/ T16 w 3240"/>
                <a:gd name="T18" fmla="+- 0 5260 3940"/>
                <a:gd name="T19" fmla="*/ 5260 h 1320"/>
                <a:gd name="T20" fmla="+- 0 19980 16740"/>
                <a:gd name="T21" fmla="*/ T20 w 3240"/>
                <a:gd name="T22" fmla="+- 0 4600 3940"/>
                <a:gd name="T23" fmla="*/ 4600 h 1320"/>
                <a:gd name="T24" fmla="+- 0 19650 16740"/>
                <a:gd name="T25" fmla="*/ T24 w 3240"/>
                <a:gd name="T26" fmla="+- 0 3940 3940"/>
                <a:gd name="T27" fmla="*/ 3940 h 1320"/>
              </a:gdLst>
              <a:ahLst/>
              <a:cxnLst>
                <a:cxn ang="0">
                  <a:pos x="T1" y="T3"/>
                </a:cxn>
                <a:cxn ang="0">
                  <a:pos x="T5" y="T7"/>
                </a:cxn>
                <a:cxn ang="0">
                  <a:pos x="T9" y="T11"/>
                </a:cxn>
                <a:cxn ang="0">
                  <a:pos x="T13" y="T15"/>
                </a:cxn>
                <a:cxn ang="0">
                  <a:pos x="T17" y="T19"/>
                </a:cxn>
                <a:cxn ang="0">
                  <a:pos x="T21" y="T23"/>
                </a:cxn>
                <a:cxn ang="0">
                  <a:pos x="T25" y="T27"/>
                </a:cxn>
              </a:cxnLst>
              <a:rect l="0" t="0" r="r" b="b"/>
              <a:pathLst>
                <a:path w="3240" h="1320">
                  <a:moveTo>
                    <a:pt x="2910" y="0"/>
                  </a:moveTo>
                  <a:lnTo>
                    <a:pt x="330" y="0"/>
                  </a:lnTo>
                  <a:lnTo>
                    <a:pt x="0" y="660"/>
                  </a:lnTo>
                  <a:lnTo>
                    <a:pt x="330" y="1320"/>
                  </a:lnTo>
                  <a:lnTo>
                    <a:pt x="2910" y="1320"/>
                  </a:lnTo>
                  <a:lnTo>
                    <a:pt x="3240" y="660"/>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a:solidFill>
                    <a:schemeClr val="bg1"/>
                  </a:solidFill>
                </a:rPr>
                <a:t>InputSplit</a:t>
              </a:r>
              <a:endParaRPr lang="en-IN">
                <a:solidFill>
                  <a:schemeClr val="bg1"/>
                </a:solidFill>
              </a:endParaRPr>
            </a:p>
          </p:txBody>
        </p:sp>
        <p:sp>
          <p:nvSpPr>
            <p:cNvPr id="25" name="Freeform 17"/>
            <p:cNvSpPr>
              <a:spLocks/>
            </p:cNvSpPr>
            <p:nvPr/>
          </p:nvSpPr>
          <p:spPr bwMode="gray">
            <a:xfrm>
              <a:off x="1539571" y="3524388"/>
              <a:ext cx="1341746" cy="546652"/>
            </a:xfrm>
            <a:custGeom>
              <a:avLst/>
              <a:gdLst>
                <a:gd name="T0" fmla="+- 0 8790 5880"/>
                <a:gd name="T1" fmla="*/ T0 w 3240"/>
                <a:gd name="T2" fmla="+- 0 6441 6441"/>
                <a:gd name="T3" fmla="*/ 6441 h 1320"/>
                <a:gd name="T4" fmla="+- 0 6210 5880"/>
                <a:gd name="T5" fmla="*/ T4 w 3240"/>
                <a:gd name="T6" fmla="+- 0 6441 6441"/>
                <a:gd name="T7" fmla="*/ 6441 h 1320"/>
                <a:gd name="T8" fmla="+- 0 5880 5880"/>
                <a:gd name="T9" fmla="*/ T8 w 3240"/>
                <a:gd name="T10" fmla="+- 0 7101 6441"/>
                <a:gd name="T11" fmla="*/ 7101 h 1320"/>
                <a:gd name="T12" fmla="+- 0 6210 5880"/>
                <a:gd name="T13" fmla="*/ T12 w 3240"/>
                <a:gd name="T14" fmla="+- 0 7761 6441"/>
                <a:gd name="T15" fmla="*/ 7761 h 1320"/>
                <a:gd name="T16" fmla="+- 0 8790 5880"/>
                <a:gd name="T17" fmla="*/ T16 w 3240"/>
                <a:gd name="T18" fmla="+- 0 7761 6441"/>
                <a:gd name="T19" fmla="*/ 7761 h 1320"/>
                <a:gd name="T20" fmla="+- 0 9120 5880"/>
                <a:gd name="T21" fmla="*/ T20 w 3240"/>
                <a:gd name="T22" fmla="+- 0 7101 6441"/>
                <a:gd name="T23" fmla="*/ 7101 h 1320"/>
                <a:gd name="T24" fmla="+- 0 8790 5880"/>
                <a:gd name="T25" fmla="*/ T24 w 3240"/>
                <a:gd name="T26" fmla="+- 0 6441 6441"/>
                <a:gd name="T27" fmla="*/ 6441 h 1320"/>
              </a:gdLst>
              <a:ahLst/>
              <a:cxnLst>
                <a:cxn ang="0">
                  <a:pos x="T1" y="T3"/>
                </a:cxn>
                <a:cxn ang="0">
                  <a:pos x="T5" y="T7"/>
                </a:cxn>
                <a:cxn ang="0">
                  <a:pos x="T9" y="T11"/>
                </a:cxn>
                <a:cxn ang="0">
                  <a:pos x="T13" y="T15"/>
                </a:cxn>
                <a:cxn ang="0">
                  <a:pos x="T17" y="T19"/>
                </a:cxn>
                <a:cxn ang="0">
                  <a:pos x="T21" y="T23"/>
                </a:cxn>
                <a:cxn ang="0">
                  <a:pos x="T25" y="T27"/>
                </a:cxn>
              </a:cxnLst>
              <a:rect l="0" t="0" r="r" b="b"/>
              <a:pathLst>
                <a:path w="3240" h="1320">
                  <a:moveTo>
                    <a:pt x="2910" y="0"/>
                  </a:moveTo>
                  <a:lnTo>
                    <a:pt x="330" y="0"/>
                  </a:lnTo>
                  <a:lnTo>
                    <a:pt x="0" y="660"/>
                  </a:lnTo>
                  <a:lnTo>
                    <a:pt x="330" y="1320"/>
                  </a:lnTo>
                  <a:lnTo>
                    <a:pt x="2910" y="1320"/>
                  </a:lnTo>
                  <a:lnTo>
                    <a:pt x="3240" y="660"/>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a:solidFill>
                    <a:schemeClr val="bg1"/>
                  </a:solidFill>
                </a:rPr>
                <a:t>Record</a:t>
              </a:r>
              <a:endParaRPr lang="en-IN">
                <a:solidFill>
                  <a:schemeClr val="bg1"/>
                </a:solidFill>
              </a:endParaRPr>
            </a:p>
            <a:p>
              <a:pPr algn="ctr"/>
              <a:r>
                <a:rPr lang="en-US">
                  <a:solidFill>
                    <a:schemeClr val="bg1"/>
                  </a:solidFill>
                </a:rPr>
                <a:t>Reader</a:t>
              </a:r>
              <a:endParaRPr lang="en-IN">
                <a:solidFill>
                  <a:schemeClr val="bg1"/>
                </a:solidFill>
              </a:endParaRPr>
            </a:p>
          </p:txBody>
        </p:sp>
        <p:sp>
          <p:nvSpPr>
            <p:cNvPr id="24" name="Freeform 19"/>
            <p:cNvSpPr>
              <a:spLocks/>
            </p:cNvSpPr>
            <p:nvPr/>
          </p:nvSpPr>
          <p:spPr bwMode="gray">
            <a:xfrm>
              <a:off x="3078024" y="3483389"/>
              <a:ext cx="1341746" cy="546652"/>
            </a:xfrm>
            <a:custGeom>
              <a:avLst/>
              <a:gdLst>
                <a:gd name="T0" fmla="+- 0 12505 9595"/>
                <a:gd name="T1" fmla="*/ T0 w 3240"/>
                <a:gd name="T2" fmla="+- 0 6342 6342"/>
                <a:gd name="T3" fmla="*/ 6342 h 1320"/>
                <a:gd name="T4" fmla="+- 0 9925 9595"/>
                <a:gd name="T5" fmla="*/ T4 w 3240"/>
                <a:gd name="T6" fmla="+- 0 6342 6342"/>
                <a:gd name="T7" fmla="*/ 6342 h 1320"/>
                <a:gd name="T8" fmla="+- 0 9595 9595"/>
                <a:gd name="T9" fmla="*/ T8 w 3240"/>
                <a:gd name="T10" fmla="+- 0 7002 6342"/>
                <a:gd name="T11" fmla="*/ 7002 h 1320"/>
                <a:gd name="T12" fmla="+- 0 9925 9595"/>
                <a:gd name="T13" fmla="*/ T12 w 3240"/>
                <a:gd name="T14" fmla="+- 0 7662 6342"/>
                <a:gd name="T15" fmla="*/ 7662 h 1320"/>
                <a:gd name="T16" fmla="+- 0 12505 9595"/>
                <a:gd name="T17" fmla="*/ T16 w 3240"/>
                <a:gd name="T18" fmla="+- 0 7662 6342"/>
                <a:gd name="T19" fmla="*/ 7662 h 1320"/>
                <a:gd name="T20" fmla="+- 0 12835 9595"/>
                <a:gd name="T21" fmla="*/ T20 w 3240"/>
                <a:gd name="T22" fmla="+- 0 7002 6342"/>
                <a:gd name="T23" fmla="*/ 7002 h 1320"/>
                <a:gd name="T24" fmla="+- 0 12505 9595"/>
                <a:gd name="T25" fmla="*/ T24 w 3240"/>
                <a:gd name="T26" fmla="+- 0 6342 6342"/>
                <a:gd name="T27" fmla="*/ 6342 h 1320"/>
              </a:gdLst>
              <a:ahLst/>
              <a:cxnLst>
                <a:cxn ang="0">
                  <a:pos x="T1" y="T3"/>
                </a:cxn>
                <a:cxn ang="0">
                  <a:pos x="T5" y="T7"/>
                </a:cxn>
                <a:cxn ang="0">
                  <a:pos x="T9" y="T11"/>
                </a:cxn>
                <a:cxn ang="0">
                  <a:pos x="T13" y="T15"/>
                </a:cxn>
                <a:cxn ang="0">
                  <a:pos x="T17" y="T19"/>
                </a:cxn>
                <a:cxn ang="0">
                  <a:pos x="T21" y="T23"/>
                </a:cxn>
                <a:cxn ang="0">
                  <a:pos x="T25" y="T27"/>
                </a:cxn>
              </a:cxnLst>
              <a:rect l="0" t="0" r="r" b="b"/>
              <a:pathLst>
                <a:path w="3240" h="1320">
                  <a:moveTo>
                    <a:pt x="2910" y="0"/>
                  </a:moveTo>
                  <a:lnTo>
                    <a:pt x="330" y="0"/>
                  </a:lnTo>
                  <a:lnTo>
                    <a:pt x="0" y="660"/>
                  </a:lnTo>
                  <a:lnTo>
                    <a:pt x="330" y="1320"/>
                  </a:lnTo>
                  <a:lnTo>
                    <a:pt x="2910" y="1320"/>
                  </a:lnTo>
                  <a:lnTo>
                    <a:pt x="3240" y="660"/>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a:solidFill>
                    <a:schemeClr val="bg1"/>
                  </a:solidFill>
                </a:rPr>
                <a:t>Record</a:t>
              </a:r>
              <a:endParaRPr lang="en-IN">
                <a:solidFill>
                  <a:schemeClr val="bg1"/>
                </a:solidFill>
              </a:endParaRPr>
            </a:p>
            <a:p>
              <a:pPr algn="ctr"/>
              <a:r>
                <a:rPr lang="en-US">
                  <a:solidFill>
                    <a:schemeClr val="bg1"/>
                  </a:solidFill>
                </a:rPr>
                <a:t>Reader</a:t>
              </a:r>
              <a:endParaRPr lang="en-IN">
                <a:solidFill>
                  <a:schemeClr val="bg1"/>
                </a:solidFill>
              </a:endParaRPr>
            </a:p>
          </p:txBody>
        </p:sp>
        <p:sp>
          <p:nvSpPr>
            <p:cNvPr id="23" name="Freeform 21"/>
            <p:cNvSpPr>
              <a:spLocks/>
            </p:cNvSpPr>
            <p:nvPr/>
          </p:nvSpPr>
          <p:spPr bwMode="gray">
            <a:xfrm>
              <a:off x="4640495" y="3514449"/>
              <a:ext cx="1341746" cy="546652"/>
            </a:xfrm>
            <a:custGeom>
              <a:avLst/>
              <a:gdLst>
                <a:gd name="T0" fmla="+- 0 16278 13368"/>
                <a:gd name="T1" fmla="*/ T0 w 3240"/>
                <a:gd name="T2" fmla="+- 0 6417 6417"/>
                <a:gd name="T3" fmla="*/ 6417 h 1320"/>
                <a:gd name="T4" fmla="+- 0 13698 13368"/>
                <a:gd name="T5" fmla="*/ T4 w 3240"/>
                <a:gd name="T6" fmla="+- 0 6417 6417"/>
                <a:gd name="T7" fmla="*/ 6417 h 1320"/>
                <a:gd name="T8" fmla="+- 0 13368 13368"/>
                <a:gd name="T9" fmla="*/ T8 w 3240"/>
                <a:gd name="T10" fmla="+- 0 7077 6417"/>
                <a:gd name="T11" fmla="*/ 7077 h 1320"/>
                <a:gd name="T12" fmla="+- 0 13698 13368"/>
                <a:gd name="T13" fmla="*/ T12 w 3240"/>
                <a:gd name="T14" fmla="+- 0 7737 6417"/>
                <a:gd name="T15" fmla="*/ 7737 h 1320"/>
                <a:gd name="T16" fmla="+- 0 16278 13368"/>
                <a:gd name="T17" fmla="*/ T16 w 3240"/>
                <a:gd name="T18" fmla="+- 0 7737 6417"/>
                <a:gd name="T19" fmla="*/ 7737 h 1320"/>
                <a:gd name="T20" fmla="+- 0 16608 13368"/>
                <a:gd name="T21" fmla="*/ T20 w 3240"/>
                <a:gd name="T22" fmla="+- 0 7077 6417"/>
                <a:gd name="T23" fmla="*/ 7077 h 1320"/>
                <a:gd name="T24" fmla="+- 0 16278 13368"/>
                <a:gd name="T25" fmla="*/ T24 w 3240"/>
                <a:gd name="T26" fmla="+- 0 6417 6417"/>
                <a:gd name="T27" fmla="*/ 6417 h 1320"/>
              </a:gdLst>
              <a:ahLst/>
              <a:cxnLst>
                <a:cxn ang="0">
                  <a:pos x="T1" y="T3"/>
                </a:cxn>
                <a:cxn ang="0">
                  <a:pos x="T5" y="T7"/>
                </a:cxn>
                <a:cxn ang="0">
                  <a:pos x="T9" y="T11"/>
                </a:cxn>
                <a:cxn ang="0">
                  <a:pos x="T13" y="T15"/>
                </a:cxn>
                <a:cxn ang="0">
                  <a:pos x="T17" y="T19"/>
                </a:cxn>
                <a:cxn ang="0">
                  <a:pos x="T21" y="T23"/>
                </a:cxn>
                <a:cxn ang="0">
                  <a:pos x="T25" y="T27"/>
                </a:cxn>
              </a:cxnLst>
              <a:rect l="0" t="0" r="r" b="b"/>
              <a:pathLst>
                <a:path w="3240" h="1320">
                  <a:moveTo>
                    <a:pt x="2910" y="0"/>
                  </a:moveTo>
                  <a:lnTo>
                    <a:pt x="330" y="0"/>
                  </a:lnTo>
                  <a:lnTo>
                    <a:pt x="0" y="660"/>
                  </a:lnTo>
                  <a:lnTo>
                    <a:pt x="330" y="1320"/>
                  </a:lnTo>
                  <a:lnTo>
                    <a:pt x="2910" y="1320"/>
                  </a:lnTo>
                  <a:lnTo>
                    <a:pt x="3240" y="660"/>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a:solidFill>
                    <a:schemeClr val="bg1"/>
                  </a:solidFill>
                </a:rPr>
                <a:t>Record</a:t>
              </a:r>
              <a:endParaRPr lang="en-IN">
                <a:solidFill>
                  <a:schemeClr val="bg1"/>
                </a:solidFill>
              </a:endParaRPr>
            </a:p>
            <a:p>
              <a:pPr algn="ctr"/>
              <a:r>
                <a:rPr lang="en-US">
                  <a:solidFill>
                    <a:schemeClr val="bg1"/>
                  </a:solidFill>
                </a:rPr>
                <a:t>Reader</a:t>
              </a:r>
              <a:endParaRPr lang="en-IN">
                <a:solidFill>
                  <a:schemeClr val="bg1"/>
                </a:solidFill>
              </a:endParaRPr>
            </a:p>
          </p:txBody>
        </p:sp>
        <p:sp>
          <p:nvSpPr>
            <p:cNvPr id="22" name="Freeform 23"/>
            <p:cNvSpPr>
              <a:spLocks/>
            </p:cNvSpPr>
            <p:nvPr/>
          </p:nvSpPr>
          <p:spPr bwMode="gray">
            <a:xfrm>
              <a:off x="6066722" y="3514449"/>
              <a:ext cx="1341746" cy="546652"/>
            </a:xfrm>
            <a:custGeom>
              <a:avLst/>
              <a:gdLst>
                <a:gd name="T0" fmla="+- 0 19722 16812"/>
                <a:gd name="T1" fmla="*/ T0 w 3240"/>
                <a:gd name="T2" fmla="+- 0 6417 6417"/>
                <a:gd name="T3" fmla="*/ 6417 h 1320"/>
                <a:gd name="T4" fmla="+- 0 17142 16812"/>
                <a:gd name="T5" fmla="*/ T4 w 3240"/>
                <a:gd name="T6" fmla="+- 0 6417 6417"/>
                <a:gd name="T7" fmla="*/ 6417 h 1320"/>
                <a:gd name="T8" fmla="+- 0 16812 16812"/>
                <a:gd name="T9" fmla="*/ T8 w 3240"/>
                <a:gd name="T10" fmla="+- 0 7077 6417"/>
                <a:gd name="T11" fmla="*/ 7077 h 1320"/>
                <a:gd name="T12" fmla="+- 0 17142 16812"/>
                <a:gd name="T13" fmla="*/ T12 w 3240"/>
                <a:gd name="T14" fmla="+- 0 7737 6417"/>
                <a:gd name="T15" fmla="*/ 7737 h 1320"/>
                <a:gd name="T16" fmla="+- 0 19722 16812"/>
                <a:gd name="T17" fmla="*/ T16 w 3240"/>
                <a:gd name="T18" fmla="+- 0 7737 6417"/>
                <a:gd name="T19" fmla="*/ 7737 h 1320"/>
                <a:gd name="T20" fmla="+- 0 20052 16812"/>
                <a:gd name="T21" fmla="*/ T20 w 3240"/>
                <a:gd name="T22" fmla="+- 0 7077 6417"/>
                <a:gd name="T23" fmla="*/ 7077 h 1320"/>
                <a:gd name="T24" fmla="+- 0 19722 16812"/>
                <a:gd name="T25" fmla="*/ T24 w 3240"/>
                <a:gd name="T26" fmla="+- 0 6417 6417"/>
                <a:gd name="T27" fmla="*/ 6417 h 1320"/>
              </a:gdLst>
              <a:ahLst/>
              <a:cxnLst>
                <a:cxn ang="0">
                  <a:pos x="T1" y="T3"/>
                </a:cxn>
                <a:cxn ang="0">
                  <a:pos x="T5" y="T7"/>
                </a:cxn>
                <a:cxn ang="0">
                  <a:pos x="T9" y="T11"/>
                </a:cxn>
                <a:cxn ang="0">
                  <a:pos x="T13" y="T15"/>
                </a:cxn>
                <a:cxn ang="0">
                  <a:pos x="T17" y="T19"/>
                </a:cxn>
                <a:cxn ang="0">
                  <a:pos x="T21" y="T23"/>
                </a:cxn>
                <a:cxn ang="0">
                  <a:pos x="T25" y="T27"/>
                </a:cxn>
              </a:cxnLst>
              <a:rect l="0" t="0" r="r" b="b"/>
              <a:pathLst>
                <a:path w="3240" h="1320">
                  <a:moveTo>
                    <a:pt x="2910" y="0"/>
                  </a:moveTo>
                  <a:lnTo>
                    <a:pt x="330" y="0"/>
                  </a:lnTo>
                  <a:lnTo>
                    <a:pt x="0" y="660"/>
                  </a:lnTo>
                  <a:lnTo>
                    <a:pt x="330" y="1320"/>
                  </a:lnTo>
                  <a:lnTo>
                    <a:pt x="2910" y="1320"/>
                  </a:lnTo>
                  <a:lnTo>
                    <a:pt x="3240" y="660"/>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a:solidFill>
                    <a:schemeClr val="bg1"/>
                  </a:solidFill>
                </a:rPr>
                <a:t>Record</a:t>
              </a:r>
              <a:endParaRPr lang="en-IN">
                <a:solidFill>
                  <a:schemeClr val="bg1"/>
                </a:solidFill>
              </a:endParaRPr>
            </a:p>
            <a:p>
              <a:pPr algn="ctr"/>
              <a:r>
                <a:rPr lang="en-US">
                  <a:solidFill>
                    <a:schemeClr val="bg1"/>
                  </a:solidFill>
                </a:rPr>
                <a:t>Reader</a:t>
              </a:r>
              <a:endParaRPr lang="en-IN">
                <a:solidFill>
                  <a:schemeClr val="bg1"/>
                </a:solidFill>
              </a:endParaRPr>
            </a:p>
          </p:txBody>
        </p:sp>
        <p:sp>
          <p:nvSpPr>
            <p:cNvPr id="21" name="Freeform 25"/>
            <p:cNvSpPr>
              <a:spLocks/>
            </p:cNvSpPr>
            <p:nvPr/>
          </p:nvSpPr>
          <p:spPr bwMode="gray">
            <a:xfrm>
              <a:off x="1539571" y="4526169"/>
              <a:ext cx="1341746" cy="544581"/>
            </a:xfrm>
            <a:custGeom>
              <a:avLst/>
              <a:gdLst>
                <a:gd name="T0" fmla="+- 0 8791 5880"/>
                <a:gd name="T1" fmla="*/ T0 w 3240"/>
                <a:gd name="T2" fmla="+- 0 8860 8860"/>
                <a:gd name="T3" fmla="*/ 8860 h 1315"/>
                <a:gd name="T4" fmla="+- 0 6209 5880"/>
                <a:gd name="T5" fmla="*/ T4 w 3240"/>
                <a:gd name="T6" fmla="+- 0 8860 8860"/>
                <a:gd name="T7" fmla="*/ 8860 h 1315"/>
                <a:gd name="T8" fmla="+- 0 5880 5880"/>
                <a:gd name="T9" fmla="*/ T8 w 3240"/>
                <a:gd name="T10" fmla="+- 0 9518 8860"/>
                <a:gd name="T11" fmla="*/ 9518 h 1315"/>
                <a:gd name="T12" fmla="+- 0 6209 5880"/>
                <a:gd name="T13" fmla="*/ T12 w 3240"/>
                <a:gd name="T14" fmla="+- 0 10175 8860"/>
                <a:gd name="T15" fmla="*/ 10175 h 1315"/>
                <a:gd name="T16" fmla="+- 0 8791 5880"/>
                <a:gd name="T17" fmla="*/ T16 w 3240"/>
                <a:gd name="T18" fmla="+- 0 10175 8860"/>
                <a:gd name="T19" fmla="*/ 10175 h 1315"/>
                <a:gd name="T20" fmla="+- 0 9120 5880"/>
                <a:gd name="T21" fmla="*/ T20 w 3240"/>
                <a:gd name="T22" fmla="+- 0 9518 8860"/>
                <a:gd name="T23" fmla="*/ 9518 h 1315"/>
                <a:gd name="T24" fmla="+- 0 8791 5880"/>
                <a:gd name="T25" fmla="*/ T24 w 3240"/>
                <a:gd name="T26" fmla="+- 0 8860 8860"/>
                <a:gd name="T27" fmla="*/ 8860 h 1315"/>
              </a:gdLst>
              <a:ahLst/>
              <a:cxnLst>
                <a:cxn ang="0">
                  <a:pos x="T1" y="T3"/>
                </a:cxn>
                <a:cxn ang="0">
                  <a:pos x="T5" y="T7"/>
                </a:cxn>
                <a:cxn ang="0">
                  <a:pos x="T9" y="T11"/>
                </a:cxn>
                <a:cxn ang="0">
                  <a:pos x="T13" y="T15"/>
                </a:cxn>
                <a:cxn ang="0">
                  <a:pos x="T17" y="T19"/>
                </a:cxn>
                <a:cxn ang="0">
                  <a:pos x="T21" y="T23"/>
                </a:cxn>
                <a:cxn ang="0">
                  <a:pos x="T25" y="T27"/>
                </a:cxn>
              </a:cxnLst>
              <a:rect l="0" t="0" r="r" b="b"/>
              <a:pathLst>
                <a:path w="3240" h="1315">
                  <a:moveTo>
                    <a:pt x="2911" y="0"/>
                  </a:moveTo>
                  <a:lnTo>
                    <a:pt x="329" y="0"/>
                  </a:lnTo>
                  <a:lnTo>
                    <a:pt x="0" y="658"/>
                  </a:lnTo>
                  <a:lnTo>
                    <a:pt x="329" y="1315"/>
                  </a:lnTo>
                  <a:lnTo>
                    <a:pt x="2911" y="1315"/>
                  </a:lnTo>
                  <a:lnTo>
                    <a:pt x="3240" y="658"/>
                  </a:lnTo>
                  <a:lnTo>
                    <a:pt x="2911"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a:solidFill>
                    <a:schemeClr val="bg1"/>
                  </a:solidFill>
                </a:rPr>
                <a:t>Mapper</a:t>
              </a:r>
              <a:endParaRPr lang="en-IN">
                <a:solidFill>
                  <a:schemeClr val="bg1"/>
                </a:solidFill>
              </a:endParaRPr>
            </a:p>
          </p:txBody>
        </p:sp>
        <p:sp>
          <p:nvSpPr>
            <p:cNvPr id="20" name="Freeform 27"/>
            <p:cNvSpPr>
              <a:spLocks/>
            </p:cNvSpPr>
            <p:nvPr/>
          </p:nvSpPr>
          <p:spPr bwMode="gray">
            <a:xfrm>
              <a:off x="3055247" y="4526169"/>
              <a:ext cx="1341746" cy="544581"/>
            </a:xfrm>
            <a:custGeom>
              <a:avLst/>
              <a:gdLst>
                <a:gd name="T0" fmla="+- 0 12451 9540"/>
                <a:gd name="T1" fmla="*/ T0 w 3240"/>
                <a:gd name="T2" fmla="+- 0 8860 8860"/>
                <a:gd name="T3" fmla="*/ 8860 h 1315"/>
                <a:gd name="T4" fmla="+- 0 9869 9540"/>
                <a:gd name="T5" fmla="*/ T4 w 3240"/>
                <a:gd name="T6" fmla="+- 0 8860 8860"/>
                <a:gd name="T7" fmla="*/ 8860 h 1315"/>
                <a:gd name="T8" fmla="+- 0 9540 9540"/>
                <a:gd name="T9" fmla="*/ T8 w 3240"/>
                <a:gd name="T10" fmla="+- 0 9518 8860"/>
                <a:gd name="T11" fmla="*/ 9518 h 1315"/>
                <a:gd name="T12" fmla="+- 0 9869 9540"/>
                <a:gd name="T13" fmla="*/ T12 w 3240"/>
                <a:gd name="T14" fmla="+- 0 10175 8860"/>
                <a:gd name="T15" fmla="*/ 10175 h 1315"/>
                <a:gd name="T16" fmla="+- 0 12451 9540"/>
                <a:gd name="T17" fmla="*/ T16 w 3240"/>
                <a:gd name="T18" fmla="+- 0 10175 8860"/>
                <a:gd name="T19" fmla="*/ 10175 h 1315"/>
                <a:gd name="T20" fmla="+- 0 12780 9540"/>
                <a:gd name="T21" fmla="*/ T20 w 3240"/>
                <a:gd name="T22" fmla="+- 0 9518 8860"/>
                <a:gd name="T23" fmla="*/ 9518 h 1315"/>
                <a:gd name="T24" fmla="+- 0 12451 9540"/>
                <a:gd name="T25" fmla="*/ T24 w 3240"/>
                <a:gd name="T26" fmla="+- 0 8860 8860"/>
                <a:gd name="T27" fmla="*/ 8860 h 1315"/>
              </a:gdLst>
              <a:ahLst/>
              <a:cxnLst>
                <a:cxn ang="0">
                  <a:pos x="T1" y="T3"/>
                </a:cxn>
                <a:cxn ang="0">
                  <a:pos x="T5" y="T7"/>
                </a:cxn>
                <a:cxn ang="0">
                  <a:pos x="T9" y="T11"/>
                </a:cxn>
                <a:cxn ang="0">
                  <a:pos x="T13" y="T15"/>
                </a:cxn>
                <a:cxn ang="0">
                  <a:pos x="T17" y="T19"/>
                </a:cxn>
                <a:cxn ang="0">
                  <a:pos x="T21" y="T23"/>
                </a:cxn>
                <a:cxn ang="0">
                  <a:pos x="T25" y="T27"/>
                </a:cxn>
              </a:cxnLst>
              <a:rect l="0" t="0" r="r" b="b"/>
              <a:pathLst>
                <a:path w="3240" h="1315">
                  <a:moveTo>
                    <a:pt x="2911" y="0"/>
                  </a:moveTo>
                  <a:lnTo>
                    <a:pt x="329" y="0"/>
                  </a:lnTo>
                  <a:lnTo>
                    <a:pt x="0" y="658"/>
                  </a:lnTo>
                  <a:lnTo>
                    <a:pt x="329" y="1315"/>
                  </a:lnTo>
                  <a:lnTo>
                    <a:pt x="2911" y="1315"/>
                  </a:lnTo>
                  <a:lnTo>
                    <a:pt x="3240" y="658"/>
                  </a:lnTo>
                  <a:lnTo>
                    <a:pt x="2911"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a:solidFill>
                    <a:schemeClr val="bg1"/>
                  </a:solidFill>
                </a:rPr>
                <a:t>Mapper</a:t>
              </a:r>
              <a:endParaRPr lang="en-IN">
                <a:solidFill>
                  <a:schemeClr val="bg1"/>
                </a:solidFill>
              </a:endParaRPr>
            </a:p>
          </p:txBody>
        </p:sp>
        <p:sp>
          <p:nvSpPr>
            <p:cNvPr id="19" name="Freeform 29"/>
            <p:cNvSpPr>
              <a:spLocks/>
            </p:cNvSpPr>
            <p:nvPr/>
          </p:nvSpPr>
          <p:spPr bwMode="gray">
            <a:xfrm>
              <a:off x="4640495" y="4508362"/>
              <a:ext cx="1341746" cy="544581"/>
            </a:xfrm>
            <a:custGeom>
              <a:avLst/>
              <a:gdLst>
                <a:gd name="T0" fmla="+- 0 16279 13368"/>
                <a:gd name="T1" fmla="*/ T0 w 3240"/>
                <a:gd name="T2" fmla="+- 0 8817 8817"/>
                <a:gd name="T3" fmla="*/ 8817 h 1315"/>
                <a:gd name="T4" fmla="+- 0 13697 13368"/>
                <a:gd name="T5" fmla="*/ T4 w 3240"/>
                <a:gd name="T6" fmla="+- 0 8817 8817"/>
                <a:gd name="T7" fmla="*/ 8817 h 1315"/>
                <a:gd name="T8" fmla="+- 0 13368 13368"/>
                <a:gd name="T9" fmla="*/ T8 w 3240"/>
                <a:gd name="T10" fmla="+- 0 9474 8817"/>
                <a:gd name="T11" fmla="*/ 9474 h 1315"/>
                <a:gd name="T12" fmla="+- 0 13697 13368"/>
                <a:gd name="T13" fmla="*/ T12 w 3240"/>
                <a:gd name="T14" fmla="+- 0 10132 8817"/>
                <a:gd name="T15" fmla="*/ 10132 h 1315"/>
                <a:gd name="T16" fmla="+- 0 16279 13368"/>
                <a:gd name="T17" fmla="*/ T16 w 3240"/>
                <a:gd name="T18" fmla="+- 0 10132 8817"/>
                <a:gd name="T19" fmla="*/ 10132 h 1315"/>
                <a:gd name="T20" fmla="+- 0 16608 13368"/>
                <a:gd name="T21" fmla="*/ T20 w 3240"/>
                <a:gd name="T22" fmla="+- 0 9474 8817"/>
                <a:gd name="T23" fmla="*/ 9474 h 1315"/>
                <a:gd name="T24" fmla="+- 0 16279 13368"/>
                <a:gd name="T25" fmla="*/ T24 w 3240"/>
                <a:gd name="T26" fmla="+- 0 8817 8817"/>
                <a:gd name="T27" fmla="*/ 8817 h 1315"/>
              </a:gdLst>
              <a:ahLst/>
              <a:cxnLst>
                <a:cxn ang="0">
                  <a:pos x="T1" y="T3"/>
                </a:cxn>
                <a:cxn ang="0">
                  <a:pos x="T5" y="T7"/>
                </a:cxn>
                <a:cxn ang="0">
                  <a:pos x="T9" y="T11"/>
                </a:cxn>
                <a:cxn ang="0">
                  <a:pos x="T13" y="T15"/>
                </a:cxn>
                <a:cxn ang="0">
                  <a:pos x="T17" y="T19"/>
                </a:cxn>
                <a:cxn ang="0">
                  <a:pos x="T21" y="T23"/>
                </a:cxn>
                <a:cxn ang="0">
                  <a:pos x="T25" y="T27"/>
                </a:cxn>
              </a:cxnLst>
              <a:rect l="0" t="0" r="r" b="b"/>
              <a:pathLst>
                <a:path w="3240" h="1315">
                  <a:moveTo>
                    <a:pt x="2911" y="0"/>
                  </a:moveTo>
                  <a:lnTo>
                    <a:pt x="329" y="0"/>
                  </a:lnTo>
                  <a:lnTo>
                    <a:pt x="0" y="657"/>
                  </a:lnTo>
                  <a:lnTo>
                    <a:pt x="329" y="1315"/>
                  </a:lnTo>
                  <a:lnTo>
                    <a:pt x="2911" y="1315"/>
                  </a:lnTo>
                  <a:lnTo>
                    <a:pt x="3240" y="657"/>
                  </a:lnTo>
                  <a:lnTo>
                    <a:pt x="2911"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a:solidFill>
                    <a:schemeClr val="bg1"/>
                  </a:solidFill>
                </a:rPr>
                <a:t>Mapper</a:t>
              </a:r>
              <a:endParaRPr lang="en-IN">
                <a:solidFill>
                  <a:schemeClr val="bg1"/>
                </a:solidFill>
              </a:endParaRPr>
            </a:p>
          </p:txBody>
        </p:sp>
        <p:sp>
          <p:nvSpPr>
            <p:cNvPr id="18" name="Freeform 31"/>
            <p:cNvSpPr>
              <a:spLocks/>
            </p:cNvSpPr>
            <p:nvPr/>
          </p:nvSpPr>
          <p:spPr bwMode="gray">
            <a:xfrm>
              <a:off x="6043945" y="4497180"/>
              <a:ext cx="1341746" cy="545824"/>
            </a:xfrm>
            <a:custGeom>
              <a:avLst/>
              <a:gdLst>
                <a:gd name="T0" fmla="+- 0 19667 16757"/>
                <a:gd name="T1" fmla="*/ T0 w 3240"/>
                <a:gd name="T2" fmla="+- 0 8790 8790"/>
                <a:gd name="T3" fmla="*/ 8790 h 1318"/>
                <a:gd name="T4" fmla="+- 0 17086 16757"/>
                <a:gd name="T5" fmla="*/ T4 w 3240"/>
                <a:gd name="T6" fmla="+- 0 8790 8790"/>
                <a:gd name="T7" fmla="*/ 8790 h 1318"/>
                <a:gd name="T8" fmla="+- 0 16757 16757"/>
                <a:gd name="T9" fmla="*/ T8 w 3240"/>
                <a:gd name="T10" fmla="+- 0 9449 8790"/>
                <a:gd name="T11" fmla="*/ 9449 h 1318"/>
                <a:gd name="T12" fmla="+- 0 17086 16757"/>
                <a:gd name="T13" fmla="*/ T12 w 3240"/>
                <a:gd name="T14" fmla="+- 0 10108 8790"/>
                <a:gd name="T15" fmla="*/ 10108 h 1318"/>
                <a:gd name="T16" fmla="+- 0 19667 16757"/>
                <a:gd name="T17" fmla="*/ T16 w 3240"/>
                <a:gd name="T18" fmla="+- 0 10108 8790"/>
                <a:gd name="T19" fmla="*/ 10108 h 1318"/>
                <a:gd name="T20" fmla="+- 0 19997 16757"/>
                <a:gd name="T21" fmla="*/ T20 w 3240"/>
                <a:gd name="T22" fmla="+- 0 9449 8790"/>
                <a:gd name="T23" fmla="*/ 9449 h 1318"/>
                <a:gd name="T24" fmla="+- 0 19667 16757"/>
                <a:gd name="T25" fmla="*/ T24 w 3240"/>
                <a:gd name="T26" fmla="+- 0 8790 8790"/>
                <a:gd name="T27" fmla="*/ 8790 h 1318"/>
              </a:gdLst>
              <a:ahLst/>
              <a:cxnLst>
                <a:cxn ang="0">
                  <a:pos x="T1" y="T3"/>
                </a:cxn>
                <a:cxn ang="0">
                  <a:pos x="T5" y="T7"/>
                </a:cxn>
                <a:cxn ang="0">
                  <a:pos x="T9" y="T11"/>
                </a:cxn>
                <a:cxn ang="0">
                  <a:pos x="T13" y="T15"/>
                </a:cxn>
                <a:cxn ang="0">
                  <a:pos x="T17" y="T19"/>
                </a:cxn>
                <a:cxn ang="0">
                  <a:pos x="T21" y="T23"/>
                </a:cxn>
                <a:cxn ang="0">
                  <a:pos x="T25" y="T27"/>
                </a:cxn>
              </a:cxnLst>
              <a:rect l="0" t="0" r="r" b="b"/>
              <a:pathLst>
                <a:path w="3240" h="1318">
                  <a:moveTo>
                    <a:pt x="2910" y="0"/>
                  </a:moveTo>
                  <a:lnTo>
                    <a:pt x="329" y="0"/>
                  </a:lnTo>
                  <a:lnTo>
                    <a:pt x="0" y="659"/>
                  </a:lnTo>
                  <a:lnTo>
                    <a:pt x="329" y="1318"/>
                  </a:lnTo>
                  <a:lnTo>
                    <a:pt x="2910" y="1318"/>
                  </a:lnTo>
                  <a:lnTo>
                    <a:pt x="3240" y="659"/>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IN" smtClean="0">
                  <a:solidFill>
                    <a:schemeClr val="bg1"/>
                  </a:solidFill>
                </a:rPr>
                <a:t>Mapper</a:t>
              </a:r>
              <a:endParaRPr lang="en-IN">
                <a:solidFill>
                  <a:schemeClr val="bg1"/>
                </a:solidFill>
              </a:endParaRPr>
            </a:p>
          </p:txBody>
        </p:sp>
        <p:sp>
          <p:nvSpPr>
            <p:cNvPr id="32" name="Rectangle 31"/>
            <p:cNvSpPr/>
            <p:nvPr/>
          </p:nvSpPr>
          <p:spPr bwMode="gray">
            <a:xfrm>
              <a:off x="1384300" y="5524500"/>
              <a:ext cx="1536700"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smtClean="0">
                  <a:solidFill>
                    <a:schemeClr val="tx1"/>
                  </a:solidFill>
                </a:rPr>
                <a:t>(Intermediates)</a:t>
              </a:r>
              <a:endParaRPr lang="en-IN" sz="1400">
                <a:solidFill>
                  <a:schemeClr val="tx1"/>
                </a:solidFill>
              </a:endParaRPr>
            </a:p>
          </p:txBody>
        </p:sp>
        <p:sp>
          <p:nvSpPr>
            <p:cNvPr id="34" name="Rectangle 33"/>
            <p:cNvSpPr/>
            <p:nvPr/>
          </p:nvSpPr>
          <p:spPr bwMode="gray">
            <a:xfrm>
              <a:off x="2997200" y="5524500"/>
              <a:ext cx="1536700"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smtClean="0">
                  <a:solidFill>
                    <a:schemeClr val="tx1"/>
                  </a:solidFill>
                </a:rPr>
                <a:t>(Intermediates)</a:t>
              </a:r>
              <a:endParaRPr lang="en-IN" sz="1400">
                <a:solidFill>
                  <a:schemeClr val="tx1"/>
                </a:solidFill>
              </a:endParaRPr>
            </a:p>
          </p:txBody>
        </p:sp>
        <p:sp>
          <p:nvSpPr>
            <p:cNvPr id="35" name="Rectangle 34"/>
            <p:cNvSpPr/>
            <p:nvPr/>
          </p:nvSpPr>
          <p:spPr bwMode="gray">
            <a:xfrm>
              <a:off x="4559300" y="5524500"/>
              <a:ext cx="1536700"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smtClean="0">
                  <a:solidFill>
                    <a:schemeClr val="tx1"/>
                  </a:solidFill>
                </a:rPr>
                <a:t>(Intermediates)</a:t>
              </a:r>
              <a:endParaRPr lang="en-IN" sz="1400">
                <a:solidFill>
                  <a:schemeClr val="tx1"/>
                </a:solidFill>
              </a:endParaRPr>
            </a:p>
          </p:txBody>
        </p:sp>
        <p:sp>
          <p:nvSpPr>
            <p:cNvPr id="36" name="Rectangle 35"/>
            <p:cNvSpPr/>
            <p:nvPr/>
          </p:nvSpPr>
          <p:spPr bwMode="gray">
            <a:xfrm>
              <a:off x="5905500" y="5524500"/>
              <a:ext cx="1536700"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smtClean="0">
                  <a:solidFill>
                    <a:schemeClr val="tx1"/>
                  </a:solidFill>
                </a:rPr>
                <a:t>(Intermediates)</a:t>
              </a:r>
              <a:endParaRPr lang="en-IN" sz="1400">
                <a:solidFill>
                  <a:schemeClr val="tx1"/>
                </a:solidFill>
              </a:endParaRPr>
            </a:p>
          </p:txBody>
        </p:sp>
        <p:sp>
          <p:nvSpPr>
            <p:cNvPr id="37" name="Rectangle 36"/>
            <p:cNvSpPr/>
            <p:nvPr/>
          </p:nvSpPr>
          <p:spPr bwMode="gray">
            <a:xfrm rot="16200000">
              <a:off x="152400" y="3086100"/>
              <a:ext cx="1536700"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smtClean="0">
                  <a:solidFill>
                    <a:schemeClr val="tx1"/>
                  </a:solidFill>
                </a:rPr>
                <a:t>Input f0rmat</a:t>
              </a:r>
              <a:endParaRPr lang="en-IN" b="1" dirty="0">
                <a:solidFill>
                  <a:schemeClr val="tx1"/>
                </a:solidFill>
              </a:endParaRPr>
            </a:p>
          </p:txBody>
        </p:sp>
      </p:grpSp>
    </p:spTree>
    <p:extLst>
      <p:ext uri="{BB962C8B-B14F-4D97-AF65-F5344CB8AC3E}">
        <p14:creationId xmlns:p14="http://schemas.microsoft.com/office/powerpoint/2010/main" val="3311014763"/>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OUTPUT FORMAT</a:t>
            </a:r>
            <a:endParaRPr lang="en-IN"/>
          </a:p>
        </p:txBody>
      </p:sp>
      <p:grpSp>
        <p:nvGrpSpPr>
          <p:cNvPr id="36" name="Group 35"/>
          <p:cNvGrpSpPr/>
          <p:nvPr/>
        </p:nvGrpSpPr>
        <p:grpSpPr bwMode="gray">
          <a:xfrm>
            <a:off x="747085" y="1967023"/>
            <a:ext cx="7269864" cy="3167525"/>
            <a:chOff x="747085" y="2467382"/>
            <a:chExt cx="6720905" cy="2667166"/>
          </a:xfrm>
        </p:grpSpPr>
        <p:sp>
          <p:nvSpPr>
            <p:cNvPr id="6" name="Freeform 9"/>
            <p:cNvSpPr>
              <a:spLocks/>
            </p:cNvSpPr>
            <p:nvPr/>
          </p:nvSpPr>
          <p:spPr bwMode="gray">
            <a:xfrm>
              <a:off x="1539571" y="2467382"/>
              <a:ext cx="1341746" cy="546652"/>
            </a:xfrm>
            <a:custGeom>
              <a:avLst/>
              <a:gdLst>
                <a:gd name="T0" fmla="+- 0 8790 5880"/>
                <a:gd name="T1" fmla="*/ T0 w 3240"/>
                <a:gd name="T2" fmla="+- 0 3940 3940"/>
                <a:gd name="T3" fmla="*/ 3940 h 1320"/>
                <a:gd name="T4" fmla="+- 0 6210 5880"/>
                <a:gd name="T5" fmla="*/ T4 w 3240"/>
                <a:gd name="T6" fmla="+- 0 3940 3940"/>
                <a:gd name="T7" fmla="*/ 3940 h 1320"/>
                <a:gd name="T8" fmla="+- 0 5880 5880"/>
                <a:gd name="T9" fmla="*/ T8 w 3240"/>
                <a:gd name="T10" fmla="+- 0 4600 3940"/>
                <a:gd name="T11" fmla="*/ 4600 h 1320"/>
                <a:gd name="T12" fmla="+- 0 6210 5880"/>
                <a:gd name="T13" fmla="*/ T12 w 3240"/>
                <a:gd name="T14" fmla="+- 0 5260 3940"/>
                <a:gd name="T15" fmla="*/ 5260 h 1320"/>
                <a:gd name="T16" fmla="+- 0 8790 5880"/>
                <a:gd name="T17" fmla="*/ T16 w 3240"/>
                <a:gd name="T18" fmla="+- 0 5260 3940"/>
                <a:gd name="T19" fmla="*/ 5260 h 1320"/>
                <a:gd name="T20" fmla="+- 0 9120 5880"/>
                <a:gd name="T21" fmla="*/ T20 w 3240"/>
                <a:gd name="T22" fmla="+- 0 4600 3940"/>
                <a:gd name="T23" fmla="*/ 4600 h 1320"/>
                <a:gd name="T24" fmla="+- 0 8790 5880"/>
                <a:gd name="T25" fmla="*/ T24 w 3240"/>
                <a:gd name="T26" fmla="+- 0 3940 3940"/>
                <a:gd name="T27" fmla="*/ 3940 h 1320"/>
              </a:gdLst>
              <a:ahLst/>
              <a:cxnLst>
                <a:cxn ang="0">
                  <a:pos x="T1" y="T3"/>
                </a:cxn>
                <a:cxn ang="0">
                  <a:pos x="T5" y="T7"/>
                </a:cxn>
                <a:cxn ang="0">
                  <a:pos x="T9" y="T11"/>
                </a:cxn>
                <a:cxn ang="0">
                  <a:pos x="T13" y="T15"/>
                </a:cxn>
                <a:cxn ang="0">
                  <a:pos x="T17" y="T19"/>
                </a:cxn>
                <a:cxn ang="0">
                  <a:pos x="T21" y="T23"/>
                </a:cxn>
                <a:cxn ang="0">
                  <a:pos x="T25" y="T27"/>
                </a:cxn>
              </a:cxnLst>
              <a:rect l="0" t="0" r="r" b="b"/>
              <a:pathLst>
                <a:path w="3240" h="1320">
                  <a:moveTo>
                    <a:pt x="2910" y="0"/>
                  </a:moveTo>
                  <a:lnTo>
                    <a:pt x="330" y="0"/>
                  </a:lnTo>
                  <a:lnTo>
                    <a:pt x="0" y="660"/>
                  </a:lnTo>
                  <a:lnTo>
                    <a:pt x="330" y="1320"/>
                  </a:lnTo>
                  <a:lnTo>
                    <a:pt x="2910" y="1320"/>
                  </a:lnTo>
                  <a:lnTo>
                    <a:pt x="3240" y="660"/>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US" sz="1600" smtClean="0">
                  <a:solidFill>
                    <a:schemeClr val="bg1"/>
                  </a:solidFill>
                </a:rPr>
                <a:t>Reducer</a:t>
              </a:r>
              <a:endParaRPr lang="en-IN" sz="1600">
                <a:solidFill>
                  <a:schemeClr val="bg1"/>
                </a:solidFill>
              </a:endParaRPr>
            </a:p>
          </p:txBody>
        </p:sp>
        <p:sp>
          <p:nvSpPr>
            <p:cNvPr id="7" name="Freeform 11"/>
            <p:cNvSpPr>
              <a:spLocks/>
            </p:cNvSpPr>
            <p:nvPr/>
          </p:nvSpPr>
          <p:spPr bwMode="gray">
            <a:xfrm>
              <a:off x="3066635" y="2467382"/>
              <a:ext cx="1341746" cy="546652"/>
            </a:xfrm>
            <a:custGeom>
              <a:avLst/>
              <a:gdLst>
                <a:gd name="T0" fmla="+- 0 12450 9540"/>
                <a:gd name="T1" fmla="*/ T0 w 3240"/>
                <a:gd name="T2" fmla="+- 0 3940 3940"/>
                <a:gd name="T3" fmla="*/ 3940 h 1320"/>
                <a:gd name="T4" fmla="+- 0 9870 9540"/>
                <a:gd name="T5" fmla="*/ T4 w 3240"/>
                <a:gd name="T6" fmla="+- 0 3940 3940"/>
                <a:gd name="T7" fmla="*/ 3940 h 1320"/>
                <a:gd name="T8" fmla="+- 0 9540 9540"/>
                <a:gd name="T9" fmla="*/ T8 w 3240"/>
                <a:gd name="T10" fmla="+- 0 4600 3940"/>
                <a:gd name="T11" fmla="*/ 4600 h 1320"/>
                <a:gd name="T12" fmla="+- 0 9870 9540"/>
                <a:gd name="T13" fmla="*/ T12 w 3240"/>
                <a:gd name="T14" fmla="+- 0 5260 3940"/>
                <a:gd name="T15" fmla="*/ 5260 h 1320"/>
                <a:gd name="T16" fmla="+- 0 12450 9540"/>
                <a:gd name="T17" fmla="*/ T16 w 3240"/>
                <a:gd name="T18" fmla="+- 0 5260 3940"/>
                <a:gd name="T19" fmla="*/ 5260 h 1320"/>
                <a:gd name="T20" fmla="+- 0 12780 9540"/>
                <a:gd name="T21" fmla="*/ T20 w 3240"/>
                <a:gd name="T22" fmla="+- 0 4600 3940"/>
                <a:gd name="T23" fmla="*/ 4600 h 1320"/>
                <a:gd name="T24" fmla="+- 0 12450 9540"/>
                <a:gd name="T25" fmla="*/ T24 w 3240"/>
                <a:gd name="T26" fmla="+- 0 3940 3940"/>
                <a:gd name="T27" fmla="*/ 3940 h 1320"/>
              </a:gdLst>
              <a:ahLst/>
              <a:cxnLst>
                <a:cxn ang="0">
                  <a:pos x="T1" y="T3"/>
                </a:cxn>
                <a:cxn ang="0">
                  <a:pos x="T5" y="T7"/>
                </a:cxn>
                <a:cxn ang="0">
                  <a:pos x="T9" y="T11"/>
                </a:cxn>
                <a:cxn ang="0">
                  <a:pos x="T13" y="T15"/>
                </a:cxn>
                <a:cxn ang="0">
                  <a:pos x="T17" y="T19"/>
                </a:cxn>
                <a:cxn ang="0">
                  <a:pos x="T21" y="T23"/>
                </a:cxn>
                <a:cxn ang="0">
                  <a:pos x="T25" y="T27"/>
                </a:cxn>
              </a:cxnLst>
              <a:rect l="0" t="0" r="r" b="b"/>
              <a:pathLst>
                <a:path w="3240" h="1320">
                  <a:moveTo>
                    <a:pt x="2910" y="0"/>
                  </a:moveTo>
                  <a:lnTo>
                    <a:pt x="330" y="0"/>
                  </a:lnTo>
                  <a:lnTo>
                    <a:pt x="0" y="660"/>
                  </a:lnTo>
                  <a:lnTo>
                    <a:pt x="330" y="1320"/>
                  </a:lnTo>
                  <a:lnTo>
                    <a:pt x="2910" y="1320"/>
                  </a:lnTo>
                  <a:lnTo>
                    <a:pt x="3240" y="660"/>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US" sz="1600">
                  <a:solidFill>
                    <a:schemeClr val="bg1"/>
                  </a:solidFill>
                </a:rPr>
                <a:t>Reducer</a:t>
              </a:r>
              <a:endParaRPr lang="en-IN" sz="1600">
                <a:solidFill>
                  <a:schemeClr val="bg1"/>
                </a:solidFill>
              </a:endParaRPr>
            </a:p>
          </p:txBody>
        </p:sp>
        <p:sp>
          <p:nvSpPr>
            <p:cNvPr id="8" name="Freeform 13"/>
            <p:cNvSpPr>
              <a:spLocks/>
            </p:cNvSpPr>
            <p:nvPr/>
          </p:nvSpPr>
          <p:spPr bwMode="gray">
            <a:xfrm>
              <a:off x="4605709" y="2467382"/>
              <a:ext cx="1341746" cy="546652"/>
            </a:xfrm>
            <a:custGeom>
              <a:avLst/>
              <a:gdLst>
                <a:gd name="T0" fmla="+- 0 16110 13200"/>
                <a:gd name="T1" fmla="*/ T0 w 3240"/>
                <a:gd name="T2" fmla="+- 0 3940 3940"/>
                <a:gd name="T3" fmla="*/ 3940 h 1320"/>
                <a:gd name="T4" fmla="+- 0 13530 13200"/>
                <a:gd name="T5" fmla="*/ T4 w 3240"/>
                <a:gd name="T6" fmla="+- 0 3940 3940"/>
                <a:gd name="T7" fmla="*/ 3940 h 1320"/>
                <a:gd name="T8" fmla="+- 0 13200 13200"/>
                <a:gd name="T9" fmla="*/ T8 w 3240"/>
                <a:gd name="T10" fmla="+- 0 4600 3940"/>
                <a:gd name="T11" fmla="*/ 4600 h 1320"/>
                <a:gd name="T12" fmla="+- 0 13530 13200"/>
                <a:gd name="T13" fmla="*/ T12 w 3240"/>
                <a:gd name="T14" fmla="+- 0 5260 3940"/>
                <a:gd name="T15" fmla="*/ 5260 h 1320"/>
                <a:gd name="T16" fmla="+- 0 16110 13200"/>
                <a:gd name="T17" fmla="*/ T16 w 3240"/>
                <a:gd name="T18" fmla="+- 0 5260 3940"/>
                <a:gd name="T19" fmla="*/ 5260 h 1320"/>
                <a:gd name="T20" fmla="+- 0 16440 13200"/>
                <a:gd name="T21" fmla="*/ T20 w 3240"/>
                <a:gd name="T22" fmla="+- 0 4600 3940"/>
                <a:gd name="T23" fmla="*/ 4600 h 1320"/>
                <a:gd name="T24" fmla="+- 0 16110 13200"/>
                <a:gd name="T25" fmla="*/ T24 w 3240"/>
                <a:gd name="T26" fmla="+- 0 3940 3940"/>
                <a:gd name="T27" fmla="*/ 3940 h 1320"/>
              </a:gdLst>
              <a:ahLst/>
              <a:cxnLst>
                <a:cxn ang="0">
                  <a:pos x="T1" y="T3"/>
                </a:cxn>
                <a:cxn ang="0">
                  <a:pos x="T5" y="T7"/>
                </a:cxn>
                <a:cxn ang="0">
                  <a:pos x="T9" y="T11"/>
                </a:cxn>
                <a:cxn ang="0">
                  <a:pos x="T13" y="T15"/>
                </a:cxn>
                <a:cxn ang="0">
                  <a:pos x="T17" y="T19"/>
                </a:cxn>
                <a:cxn ang="0">
                  <a:pos x="T21" y="T23"/>
                </a:cxn>
                <a:cxn ang="0">
                  <a:pos x="T25" y="T27"/>
                </a:cxn>
              </a:cxnLst>
              <a:rect l="0" t="0" r="r" b="b"/>
              <a:pathLst>
                <a:path w="3240" h="1320">
                  <a:moveTo>
                    <a:pt x="2910" y="0"/>
                  </a:moveTo>
                  <a:lnTo>
                    <a:pt x="330" y="0"/>
                  </a:lnTo>
                  <a:lnTo>
                    <a:pt x="0" y="660"/>
                  </a:lnTo>
                  <a:lnTo>
                    <a:pt x="330" y="1320"/>
                  </a:lnTo>
                  <a:lnTo>
                    <a:pt x="2910" y="1320"/>
                  </a:lnTo>
                  <a:lnTo>
                    <a:pt x="3240" y="660"/>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US" sz="1600">
                  <a:solidFill>
                    <a:schemeClr val="bg1"/>
                  </a:solidFill>
                </a:rPr>
                <a:t>Reducer</a:t>
              </a:r>
              <a:endParaRPr lang="en-IN" sz="1600">
                <a:solidFill>
                  <a:schemeClr val="bg1"/>
                </a:solidFill>
              </a:endParaRPr>
            </a:p>
          </p:txBody>
        </p:sp>
        <p:sp>
          <p:nvSpPr>
            <p:cNvPr id="9" name="Freeform 15"/>
            <p:cNvSpPr>
              <a:spLocks/>
            </p:cNvSpPr>
            <p:nvPr/>
          </p:nvSpPr>
          <p:spPr bwMode="gray">
            <a:xfrm>
              <a:off x="6126244" y="2467382"/>
              <a:ext cx="1341746" cy="546652"/>
            </a:xfrm>
            <a:custGeom>
              <a:avLst/>
              <a:gdLst>
                <a:gd name="T0" fmla="+- 0 19650 16740"/>
                <a:gd name="T1" fmla="*/ T0 w 3240"/>
                <a:gd name="T2" fmla="+- 0 3940 3940"/>
                <a:gd name="T3" fmla="*/ 3940 h 1320"/>
                <a:gd name="T4" fmla="+- 0 17070 16740"/>
                <a:gd name="T5" fmla="*/ T4 w 3240"/>
                <a:gd name="T6" fmla="+- 0 3940 3940"/>
                <a:gd name="T7" fmla="*/ 3940 h 1320"/>
                <a:gd name="T8" fmla="+- 0 16740 16740"/>
                <a:gd name="T9" fmla="*/ T8 w 3240"/>
                <a:gd name="T10" fmla="+- 0 4600 3940"/>
                <a:gd name="T11" fmla="*/ 4600 h 1320"/>
                <a:gd name="T12" fmla="+- 0 17070 16740"/>
                <a:gd name="T13" fmla="*/ T12 w 3240"/>
                <a:gd name="T14" fmla="+- 0 5260 3940"/>
                <a:gd name="T15" fmla="*/ 5260 h 1320"/>
                <a:gd name="T16" fmla="+- 0 19650 16740"/>
                <a:gd name="T17" fmla="*/ T16 w 3240"/>
                <a:gd name="T18" fmla="+- 0 5260 3940"/>
                <a:gd name="T19" fmla="*/ 5260 h 1320"/>
                <a:gd name="T20" fmla="+- 0 19980 16740"/>
                <a:gd name="T21" fmla="*/ T20 w 3240"/>
                <a:gd name="T22" fmla="+- 0 4600 3940"/>
                <a:gd name="T23" fmla="*/ 4600 h 1320"/>
                <a:gd name="T24" fmla="+- 0 19650 16740"/>
                <a:gd name="T25" fmla="*/ T24 w 3240"/>
                <a:gd name="T26" fmla="+- 0 3940 3940"/>
                <a:gd name="T27" fmla="*/ 3940 h 1320"/>
              </a:gdLst>
              <a:ahLst/>
              <a:cxnLst>
                <a:cxn ang="0">
                  <a:pos x="T1" y="T3"/>
                </a:cxn>
                <a:cxn ang="0">
                  <a:pos x="T5" y="T7"/>
                </a:cxn>
                <a:cxn ang="0">
                  <a:pos x="T9" y="T11"/>
                </a:cxn>
                <a:cxn ang="0">
                  <a:pos x="T13" y="T15"/>
                </a:cxn>
                <a:cxn ang="0">
                  <a:pos x="T17" y="T19"/>
                </a:cxn>
                <a:cxn ang="0">
                  <a:pos x="T21" y="T23"/>
                </a:cxn>
                <a:cxn ang="0">
                  <a:pos x="T25" y="T27"/>
                </a:cxn>
              </a:cxnLst>
              <a:rect l="0" t="0" r="r" b="b"/>
              <a:pathLst>
                <a:path w="3240" h="1320">
                  <a:moveTo>
                    <a:pt x="2910" y="0"/>
                  </a:moveTo>
                  <a:lnTo>
                    <a:pt x="330" y="0"/>
                  </a:lnTo>
                  <a:lnTo>
                    <a:pt x="0" y="660"/>
                  </a:lnTo>
                  <a:lnTo>
                    <a:pt x="330" y="1320"/>
                  </a:lnTo>
                  <a:lnTo>
                    <a:pt x="2910" y="1320"/>
                  </a:lnTo>
                  <a:lnTo>
                    <a:pt x="3240" y="660"/>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US" sz="1600">
                  <a:solidFill>
                    <a:schemeClr val="bg1"/>
                  </a:solidFill>
                </a:rPr>
                <a:t>Reducer</a:t>
              </a:r>
              <a:endParaRPr lang="en-IN" sz="1600">
                <a:solidFill>
                  <a:schemeClr val="bg1"/>
                </a:solidFill>
              </a:endParaRPr>
            </a:p>
          </p:txBody>
        </p:sp>
        <p:sp>
          <p:nvSpPr>
            <p:cNvPr id="10" name="Freeform 17"/>
            <p:cNvSpPr>
              <a:spLocks/>
            </p:cNvSpPr>
            <p:nvPr/>
          </p:nvSpPr>
          <p:spPr bwMode="gray">
            <a:xfrm>
              <a:off x="1539571" y="3524388"/>
              <a:ext cx="1341746" cy="546652"/>
            </a:xfrm>
            <a:custGeom>
              <a:avLst/>
              <a:gdLst>
                <a:gd name="T0" fmla="+- 0 8790 5880"/>
                <a:gd name="T1" fmla="*/ T0 w 3240"/>
                <a:gd name="T2" fmla="+- 0 6441 6441"/>
                <a:gd name="T3" fmla="*/ 6441 h 1320"/>
                <a:gd name="T4" fmla="+- 0 6210 5880"/>
                <a:gd name="T5" fmla="*/ T4 w 3240"/>
                <a:gd name="T6" fmla="+- 0 6441 6441"/>
                <a:gd name="T7" fmla="*/ 6441 h 1320"/>
                <a:gd name="T8" fmla="+- 0 5880 5880"/>
                <a:gd name="T9" fmla="*/ T8 w 3240"/>
                <a:gd name="T10" fmla="+- 0 7101 6441"/>
                <a:gd name="T11" fmla="*/ 7101 h 1320"/>
                <a:gd name="T12" fmla="+- 0 6210 5880"/>
                <a:gd name="T13" fmla="*/ T12 w 3240"/>
                <a:gd name="T14" fmla="+- 0 7761 6441"/>
                <a:gd name="T15" fmla="*/ 7761 h 1320"/>
                <a:gd name="T16" fmla="+- 0 8790 5880"/>
                <a:gd name="T17" fmla="*/ T16 w 3240"/>
                <a:gd name="T18" fmla="+- 0 7761 6441"/>
                <a:gd name="T19" fmla="*/ 7761 h 1320"/>
                <a:gd name="T20" fmla="+- 0 9120 5880"/>
                <a:gd name="T21" fmla="*/ T20 w 3240"/>
                <a:gd name="T22" fmla="+- 0 7101 6441"/>
                <a:gd name="T23" fmla="*/ 7101 h 1320"/>
                <a:gd name="T24" fmla="+- 0 8790 5880"/>
                <a:gd name="T25" fmla="*/ T24 w 3240"/>
                <a:gd name="T26" fmla="+- 0 6441 6441"/>
                <a:gd name="T27" fmla="*/ 6441 h 1320"/>
              </a:gdLst>
              <a:ahLst/>
              <a:cxnLst>
                <a:cxn ang="0">
                  <a:pos x="T1" y="T3"/>
                </a:cxn>
                <a:cxn ang="0">
                  <a:pos x="T5" y="T7"/>
                </a:cxn>
                <a:cxn ang="0">
                  <a:pos x="T9" y="T11"/>
                </a:cxn>
                <a:cxn ang="0">
                  <a:pos x="T13" y="T15"/>
                </a:cxn>
                <a:cxn ang="0">
                  <a:pos x="T17" y="T19"/>
                </a:cxn>
                <a:cxn ang="0">
                  <a:pos x="T21" y="T23"/>
                </a:cxn>
                <a:cxn ang="0">
                  <a:pos x="T25" y="T27"/>
                </a:cxn>
              </a:cxnLst>
              <a:rect l="0" t="0" r="r" b="b"/>
              <a:pathLst>
                <a:path w="3240" h="1320">
                  <a:moveTo>
                    <a:pt x="2910" y="0"/>
                  </a:moveTo>
                  <a:lnTo>
                    <a:pt x="330" y="0"/>
                  </a:lnTo>
                  <a:lnTo>
                    <a:pt x="0" y="660"/>
                  </a:lnTo>
                  <a:lnTo>
                    <a:pt x="330" y="1320"/>
                  </a:lnTo>
                  <a:lnTo>
                    <a:pt x="2910" y="1320"/>
                  </a:lnTo>
                  <a:lnTo>
                    <a:pt x="3240" y="660"/>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IN" sz="1600">
                  <a:solidFill>
                    <a:schemeClr val="bg1"/>
                  </a:solidFill>
                </a:rPr>
                <a:t>RecordWriter</a:t>
              </a:r>
            </a:p>
          </p:txBody>
        </p:sp>
        <p:sp>
          <p:nvSpPr>
            <p:cNvPr id="11" name="Freeform 19"/>
            <p:cNvSpPr>
              <a:spLocks/>
            </p:cNvSpPr>
            <p:nvPr/>
          </p:nvSpPr>
          <p:spPr bwMode="gray">
            <a:xfrm>
              <a:off x="3066635" y="3483389"/>
              <a:ext cx="1341746" cy="546652"/>
            </a:xfrm>
            <a:custGeom>
              <a:avLst/>
              <a:gdLst>
                <a:gd name="T0" fmla="+- 0 12505 9595"/>
                <a:gd name="T1" fmla="*/ T0 w 3240"/>
                <a:gd name="T2" fmla="+- 0 6342 6342"/>
                <a:gd name="T3" fmla="*/ 6342 h 1320"/>
                <a:gd name="T4" fmla="+- 0 9925 9595"/>
                <a:gd name="T5" fmla="*/ T4 w 3240"/>
                <a:gd name="T6" fmla="+- 0 6342 6342"/>
                <a:gd name="T7" fmla="*/ 6342 h 1320"/>
                <a:gd name="T8" fmla="+- 0 9595 9595"/>
                <a:gd name="T9" fmla="*/ T8 w 3240"/>
                <a:gd name="T10" fmla="+- 0 7002 6342"/>
                <a:gd name="T11" fmla="*/ 7002 h 1320"/>
                <a:gd name="T12" fmla="+- 0 9925 9595"/>
                <a:gd name="T13" fmla="*/ T12 w 3240"/>
                <a:gd name="T14" fmla="+- 0 7662 6342"/>
                <a:gd name="T15" fmla="*/ 7662 h 1320"/>
                <a:gd name="T16" fmla="+- 0 12505 9595"/>
                <a:gd name="T17" fmla="*/ T16 w 3240"/>
                <a:gd name="T18" fmla="+- 0 7662 6342"/>
                <a:gd name="T19" fmla="*/ 7662 h 1320"/>
                <a:gd name="T20" fmla="+- 0 12835 9595"/>
                <a:gd name="T21" fmla="*/ T20 w 3240"/>
                <a:gd name="T22" fmla="+- 0 7002 6342"/>
                <a:gd name="T23" fmla="*/ 7002 h 1320"/>
                <a:gd name="T24" fmla="+- 0 12505 9595"/>
                <a:gd name="T25" fmla="*/ T24 w 3240"/>
                <a:gd name="T26" fmla="+- 0 6342 6342"/>
                <a:gd name="T27" fmla="*/ 6342 h 1320"/>
              </a:gdLst>
              <a:ahLst/>
              <a:cxnLst>
                <a:cxn ang="0">
                  <a:pos x="T1" y="T3"/>
                </a:cxn>
                <a:cxn ang="0">
                  <a:pos x="T5" y="T7"/>
                </a:cxn>
                <a:cxn ang="0">
                  <a:pos x="T9" y="T11"/>
                </a:cxn>
                <a:cxn ang="0">
                  <a:pos x="T13" y="T15"/>
                </a:cxn>
                <a:cxn ang="0">
                  <a:pos x="T17" y="T19"/>
                </a:cxn>
                <a:cxn ang="0">
                  <a:pos x="T21" y="T23"/>
                </a:cxn>
                <a:cxn ang="0">
                  <a:pos x="T25" y="T27"/>
                </a:cxn>
              </a:cxnLst>
              <a:rect l="0" t="0" r="r" b="b"/>
              <a:pathLst>
                <a:path w="3240" h="1320">
                  <a:moveTo>
                    <a:pt x="2910" y="0"/>
                  </a:moveTo>
                  <a:lnTo>
                    <a:pt x="330" y="0"/>
                  </a:lnTo>
                  <a:lnTo>
                    <a:pt x="0" y="660"/>
                  </a:lnTo>
                  <a:lnTo>
                    <a:pt x="330" y="1320"/>
                  </a:lnTo>
                  <a:lnTo>
                    <a:pt x="2910" y="1320"/>
                  </a:lnTo>
                  <a:lnTo>
                    <a:pt x="3240" y="660"/>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IN" sz="1600">
                  <a:solidFill>
                    <a:schemeClr val="bg1"/>
                  </a:solidFill>
                </a:rPr>
                <a:t>RecordWriter</a:t>
              </a:r>
            </a:p>
          </p:txBody>
        </p:sp>
        <p:sp>
          <p:nvSpPr>
            <p:cNvPr id="12" name="Freeform 21"/>
            <p:cNvSpPr>
              <a:spLocks/>
            </p:cNvSpPr>
            <p:nvPr/>
          </p:nvSpPr>
          <p:spPr bwMode="gray">
            <a:xfrm>
              <a:off x="4605709" y="3514449"/>
              <a:ext cx="1341746" cy="546652"/>
            </a:xfrm>
            <a:custGeom>
              <a:avLst/>
              <a:gdLst>
                <a:gd name="T0" fmla="+- 0 16278 13368"/>
                <a:gd name="T1" fmla="*/ T0 w 3240"/>
                <a:gd name="T2" fmla="+- 0 6417 6417"/>
                <a:gd name="T3" fmla="*/ 6417 h 1320"/>
                <a:gd name="T4" fmla="+- 0 13698 13368"/>
                <a:gd name="T5" fmla="*/ T4 w 3240"/>
                <a:gd name="T6" fmla="+- 0 6417 6417"/>
                <a:gd name="T7" fmla="*/ 6417 h 1320"/>
                <a:gd name="T8" fmla="+- 0 13368 13368"/>
                <a:gd name="T9" fmla="*/ T8 w 3240"/>
                <a:gd name="T10" fmla="+- 0 7077 6417"/>
                <a:gd name="T11" fmla="*/ 7077 h 1320"/>
                <a:gd name="T12" fmla="+- 0 13698 13368"/>
                <a:gd name="T13" fmla="*/ T12 w 3240"/>
                <a:gd name="T14" fmla="+- 0 7737 6417"/>
                <a:gd name="T15" fmla="*/ 7737 h 1320"/>
                <a:gd name="T16" fmla="+- 0 16278 13368"/>
                <a:gd name="T17" fmla="*/ T16 w 3240"/>
                <a:gd name="T18" fmla="+- 0 7737 6417"/>
                <a:gd name="T19" fmla="*/ 7737 h 1320"/>
                <a:gd name="T20" fmla="+- 0 16608 13368"/>
                <a:gd name="T21" fmla="*/ T20 w 3240"/>
                <a:gd name="T22" fmla="+- 0 7077 6417"/>
                <a:gd name="T23" fmla="*/ 7077 h 1320"/>
                <a:gd name="T24" fmla="+- 0 16278 13368"/>
                <a:gd name="T25" fmla="*/ T24 w 3240"/>
                <a:gd name="T26" fmla="+- 0 6417 6417"/>
                <a:gd name="T27" fmla="*/ 6417 h 1320"/>
              </a:gdLst>
              <a:ahLst/>
              <a:cxnLst>
                <a:cxn ang="0">
                  <a:pos x="T1" y="T3"/>
                </a:cxn>
                <a:cxn ang="0">
                  <a:pos x="T5" y="T7"/>
                </a:cxn>
                <a:cxn ang="0">
                  <a:pos x="T9" y="T11"/>
                </a:cxn>
                <a:cxn ang="0">
                  <a:pos x="T13" y="T15"/>
                </a:cxn>
                <a:cxn ang="0">
                  <a:pos x="T17" y="T19"/>
                </a:cxn>
                <a:cxn ang="0">
                  <a:pos x="T21" y="T23"/>
                </a:cxn>
                <a:cxn ang="0">
                  <a:pos x="T25" y="T27"/>
                </a:cxn>
              </a:cxnLst>
              <a:rect l="0" t="0" r="r" b="b"/>
              <a:pathLst>
                <a:path w="3240" h="1320">
                  <a:moveTo>
                    <a:pt x="2910" y="0"/>
                  </a:moveTo>
                  <a:lnTo>
                    <a:pt x="330" y="0"/>
                  </a:lnTo>
                  <a:lnTo>
                    <a:pt x="0" y="660"/>
                  </a:lnTo>
                  <a:lnTo>
                    <a:pt x="330" y="1320"/>
                  </a:lnTo>
                  <a:lnTo>
                    <a:pt x="2910" y="1320"/>
                  </a:lnTo>
                  <a:lnTo>
                    <a:pt x="3240" y="660"/>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IN" sz="1600">
                  <a:solidFill>
                    <a:schemeClr val="bg1"/>
                  </a:solidFill>
                </a:rPr>
                <a:t>RecordWriter</a:t>
              </a:r>
            </a:p>
          </p:txBody>
        </p:sp>
        <p:sp>
          <p:nvSpPr>
            <p:cNvPr id="13" name="Freeform 23"/>
            <p:cNvSpPr>
              <a:spLocks/>
            </p:cNvSpPr>
            <p:nvPr/>
          </p:nvSpPr>
          <p:spPr bwMode="gray">
            <a:xfrm>
              <a:off x="6126244" y="3514449"/>
              <a:ext cx="1341746" cy="546652"/>
            </a:xfrm>
            <a:custGeom>
              <a:avLst/>
              <a:gdLst>
                <a:gd name="T0" fmla="+- 0 19722 16812"/>
                <a:gd name="T1" fmla="*/ T0 w 3240"/>
                <a:gd name="T2" fmla="+- 0 6417 6417"/>
                <a:gd name="T3" fmla="*/ 6417 h 1320"/>
                <a:gd name="T4" fmla="+- 0 17142 16812"/>
                <a:gd name="T5" fmla="*/ T4 w 3240"/>
                <a:gd name="T6" fmla="+- 0 6417 6417"/>
                <a:gd name="T7" fmla="*/ 6417 h 1320"/>
                <a:gd name="T8" fmla="+- 0 16812 16812"/>
                <a:gd name="T9" fmla="*/ T8 w 3240"/>
                <a:gd name="T10" fmla="+- 0 7077 6417"/>
                <a:gd name="T11" fmla="*/ 7077 h 1320"/>
                <a:gd name="T12" fmla="+- 0 17142 16812"/>
                <a:gd name="T13" fmla="*/ T12 w 3240"/>
                <a:gd name="T14" fmla="+- 0 7737 6417"/>
                <a:gd name="T15" fmla="*/ 7737 h 1320"/>
                <a:gd name="T16" fmla="+- 0 19722 16812"/>
                <a:gd name="T17" fmla="*/ T16 w 3240"/>
                <a:gd name="T18" fmla="+- 0 7737 6417"/>
                <a:gd name="T19" fmla="*/ 7737 h 1320"/>
                <a:gd name="T20" fmla="+- 0 20052 16812"/>
                <a:gd name="T21" fmla="*/ T20 w 3240"/>
                <a:gd name="T22" fmla="+- 0 7077 6417"/>
                <a:gd name="T23" fmla="*/ 7077 h 1320"/>
                <a:gd name="T24" fmla="+- 0 19722 16812"/>
                <a:gd name="T25" fmla="*/ T24 w 3240"/>
                <a:gd name="T26" fmla="+- 0 6417 6417"/>
                <a:gd name="T27" fmla="*/ 6417 h 1320"/>
              </a:gdLst>
              <a:ahLst/>
              <a:cxnLst>
                <a:cxn ang="0">
                  <a:pos x="T1" y="T3"/>
                </a:cxn>
                <a:cxn ang="0">
                  <a:pos x="T5" y="T7"/>
                </a:cxn>
                <a:cxn ang="0">
                  <a:pos x="T9" y="T11"/>
                </a:cxn>
                <a:cxn ang="0">
                  <a:pos x="T13" y="T15"/>
                </a:cxn>
                <a:cxn ang="0">
                  <a:pos x="T17" y="T19"/>
                </a:cxn>
                <a:cxn ang="0">
                  <a:pos x="T21" y="T23"/>
                </a:cxn>
                <a:cxn ang="0">
                  <a:pos x="T25" y="T27"/>
                </a:cxn>
              </a:cxnLst>
              <a:rect l="0" t="0" r="r" b="b"/>
              <a:pathLst>
                <a:path w="3240" h="1320">
                  <a:moveTo>
                    <a:pt x="2910" y="0"/>
                  </a:moveTo>
                  <a:lnTo>
                    <a:pt x="330" y="0"/>
                  </a:lnTo>
                  <a:lnTo>
                    <a:pt x="0" y="660"/>
                  </a:lnTo>
                  <a:lnTo>
                    <a:pt x="330" y="1320"/>
                  </a:lnTo>
                  <a:lnTo>
                    <a:pt x="2910" y="1320"/>
                  </a:lnTo>
                  <a:lnTo>
                    <a:pt x="3240" y="660"/>
                  </a:lnTo>
                  <a:lnTo>
                    <a:pt x="291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IN" sz="1600">
                  <a:solidFill>
                    <a:schemeClr val="bg1"/>
                  </a:solidFill>
                </a:rPr>
                <a:t>RecordWriter</a:t>
              </a:r>
            </a:p>
          </p:txBody>
        </p:sp>
        <p:sp>
          <p:nvSpPr>
            <p:cNvPr id="14" name="Freeform 25"/>
            <p:cNvSpPr>
              <a:spLocks/>
            </p:cNvSpPr>
            <p:nvPr/>
          </p:nvSpPr>
          <p:spPr bwMode="gray">
            <a:xfrm>
              <a:off x="1539571" y="4589967"/>
              <a:ext cx="1341746" cy="544581"/>
            </a:xfrm>
            <a:prstGeom prst="roundRect">
              <a:avLst/>
            </a:prstGeom>
            <a:solidFill>
              <a:srgbClr val="C00000"/>
            </a:solidFill>
            <a:ln>
              <a:noFill/>
            </a:ln>
          </p:spPr>
          <p:txBody>
            <a:bodyPr vert="horz" wrap="square" lIns="0" tIns="0" rIns="0" bIns="0" numCol="1" anchor="ctr" anchorCtr="0" compatLnSpc="1">
              <a:prstTxWarp prst="textNoShape">
                <a:avLst/>
              </a:prstTxWarp>
            </a:bodyPr>
            <a:lstStyle/>
            <a:p>
              <a:pPr algn="ctr"/>
              <a:r>
                <a:rPr lang="en-IN" sz="1600">
                  <a:solidFill>
                    <a:schemeClr val="bg1"/>
                  </a:solidFill>
                </a:rPr>
                <a:t>Output File</a:t>
              </a:r>
            </a:p>
          </p:txBody>
        </p:sp>
        <p:sp>
          <p:nvSpPr>
            <p:cNvPr id="15" name="Freeform 27"/>
            <p:cNvSpPr>
              <a:spLocks/>
            </p:cNvSpPr>
            <p:nvPr/>
          </p:nvSpPr>
          <p:spPr bwMode="gray">
            <a:xfrm>
              <a:off x="3066635" y="4589967"/>
              <a:ext cx="1341746" cy="544581"/>
            </a:xfrm>
            <a:prstGeom prst="roundRect">
              <a:avLst/>
            </a:prstGeom>
            <a:solidFill>
              <a:srgbClr val="C00000"/>
            </a:solidFill>
            <a:ln>
              <a:noFill/>
            </a:ln>
          </p:spPr>
          <p:txBody>
            <a:bodyPr vert="horz" wrap="square" lIns="0" tIns="0" rIns="0" bIns="0" numCol="1" anchor="ctr" anchorCtr="0" compatLnSpc="1">
              <a:prstTxWarp prst="textNoShape">
                <a:avLst/>
              </a:prstTxWarp>
            </a:bodyPr>
            <a:lstStyle/>
            <a:p>
              <a:pPr algn="ctr"/>
              <a:r>
                <a:rPr lang="en-IN" sz="1600">
                  <a:solidFill>
                    <a:schemeClr val="bg1"/>
                  </a:solidFill>
                </a:rPr>
                <a:t>Output File</a:t>
              </a:r>
            </a:p>
          </p:txBody>
        </p:sp>
        <p:sp>
          <p:nvSpPr>
            <p:cNvPr id="16" name="Freeform 29"/>
            <p:cNvSpPr>
              <a:spLocks/>
            </p:cNvSpPr>
            <p:nvPr/>
          </p:nvSpPr>
          <p:spPr bwMode="gray">
            <a:xfrm>
              <a:off x="4605709" y="4572160"/>
              <a:ext cx="1341746" cy="544581"/>
            </a:xfrm>
            <a:prstGeom prst="roundRect">
              <a:avLst/>
            </a:prstGeom>
            <a:solidFill>
              <a:srgbClr val="C00000"/>
            </a:solidFill>
            <a:ln>
              <a:noFill/>
            </a:ln>
          </p:spPr>
          <p:txBody>
            <a:bodyPr vert="horz" wrap="square" lIns="0" tIns="0" rIns="0" bIns="0" numCol="1" anchor="ctr" anchorCtr="0" compatLnSpc="1">
              <a:prstTxWarp prst="textNoShape">
                <a:avLst/>
              </a:prstTxWarp>
            </a:bodyPr>
            <a:lstStyle/>
            <a:p>
              <a:pPr algn="ctr"/>
              <a:r>
                <a:rPr lang="en-IN" sz="1600">
                  <a:solidFill>
                    <a:schemeClr val="bg1"/>
                  </a:solidFill>
                </a:rPr>
                <a:t>Output File</a:t>
              </a:r>
            </a:p>
          </p:txBody>
        </p:sp>
        <p:sp>
          <p:nvSpPr>
            <p:cNvPr id="17" name="Freeform 31"/>
            <p:cNvSpPr>
              <a:spLocks/>
            </p:cNvSpPr>
            <p:nvPr/>
          </p:nvSpPr>
          <p:spPr bwMode="gray">
            <a:xfrm>
              <a:off x="6126244" y="4560978"/>
              <a:ext cx="1341746" cy="545824"/>
            </a:xfrm>
            <a:prstGeom prst="roundRect">
              <a:avLst/>
            </a:prstGeom>
            <a:solidFill>
              <a:srgbClr val="C00000"/>
            </a:solidFill>
            <a:ln>
              <a:noFill/>
            </a:ln>
          </p:spPr>
          <p:txBody>
            <a:bodyPr vert="horz" wrap="square" lIns="0" tIns="0" rIns="0" bIns="0" numCol="1" anchor="ctr" anchorCtr="0" compatLnSpc="1">
              <a:prstTxWarp prst="textNoShape">
                <a:avLst/>
              </a:prstTxWarp>
            </a:bodyPr>
            <a:lstStyle/>
            <a:p>
              <a:pPr algn="ctr"/>
              <a:r>
                <a:rPr lang="en-IN" sz="1600">
                  <a:solidFill>
                    <a:schemeClr val="bg1"/>
                  </a:solidFill>
                </a:rPr>
                <a:t>Output File</a:t>
              </a:r>
            </a:p>
          </p:txBody>
        </p:sp>
        <p:sp>
          <p:nvSpPr>
            <p:cNvPr id="22" name="Rectangle 21"/>
            <p:cNvSpPr/>
            <p:nvPr/>
          </p:nvSpPr>
          <p:spPr bwMode="gray">
            <a:xfrm rot="16200000">
              <a:off x="12552" y="3649626"/>
              <a:ext cx="1773866" cy="30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smtClean="0">
                  <a:solidFill>
                    <a:schemeClr val="tx1"/>
                  </a:solidFill>
                </a:rPr>
                <a:t>Output Format</a:t>
              </a:r>
              <a:endParaRPr lang="en-IN" b="1">
                <a:solidFill>
                  <a:schemeClr val="tx1"/>
                </a:solidFill>
              </a:endParaRPr>
            </a:p>
          </p:txBody>
        </p:sp>
        <p:cxnSp>
          <p:nvCxnSpPr>
            <p:cNvPr id="25" name="Straight Arrow Connector 24"/>
            <p:cNvCxnSpPr/>
            <p:nvPr/>
          </p:nvCxnSpPr>
          <p:spPr bwMode="gray">
            <a:xfrm>
              <a:off x="2210444" y="3009014"/>
              <a:ext cx="0" cy="49973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bwMode="gray">
            <a:xfrm>
              <a:off x="3737508" y="3009014"/>
              <a:ext cx="0" cy="49973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bwMode="gray">
            <a:xfrm>
              <a:off x="5276582" y="3009014"/>
              <a:ext cx="0" cy="49973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bwMode="gray">
            <a:xfrm>
              <a:off x="6797117" y="4051005"/>
              <a:ext cx="0" cy="49973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bwMode="gray">
            <a:xfrm>
              <a:off x="6797117" y="3009014"/>
              <a:ext cx="0" cy="49973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bwMode="gray">
            <a:xfrm>
              <a:off x="5276582" y="4051005"/>
              <a:ext cx="0" cy="49973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bwMode="gray">
            <a:xfrm>
              <a:off x="3737508" y="4051005"/>
              <a:ext cx="0" cy="49973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bwMode="gray">
            <a:xfrm>
              <a:off x="2210444" y="4051005"/>
              <a:ext cx="0" cy="49973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Left Bracket 34"/>
            <p:cNvSpPr/>
            <p:nvPr/>
          </p:nvSpPr>
          <p:spPr bwMode="gray">
            <a:xfrm>
              <a:off x="1127051" y="3285460"/>
              <a:ext cx="276448" cy="1137684"/>
            </a:xfrm>
            <a:prstGeom prst="leftBracket">
              <a:avLst>
                <a:gd name="adj" fmla="val 0"/>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grpSp>
    </p:spTree>
    <p:extLst>
      <p:ext uri="{BB962C8B-B14F-4D97-AF65-F5344CB8AC3E}">
        <p14:creationId xmlns:p14="http://schemas.microsoft.com/office/powerpoint/2010/main" val="3813484059"/>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OUTPUT FORMAT</a:t>
            </a:r>
            <a:endParaRPr lang="en-IN"/>
          </a:p>
        </p:txBody>
      </p:sp>
      <p:grpSp>
        <p:nvGrpSpPr>
          <p:cNvPr id="38" name="Group 37"/>
          <p:cNvGrpSpPr/>
          <p:nvPr/>
        </p:nvGrpSpPr>
        <p:grpSpPr bwMode="gray">
          <a:xfrm>
            <a:off x="733647" y="1595322"/>
            <a:ext cx="7985947" cy="4333381"/>
            <a:chOff x="510354" y="1691019"/>
            <a:chExt cx="7985947" cy="4333381"/>
          </a:xfrm>
        </p:grpSpPr>
        <p:sp>
          <p:nvSpPr>
            <p:cNvPr id="3" name="Rounded Rectangle 2"/>
            <p:cNvSpPr/>
            <p:nvPr>
              <p:custDataLst>
                <p:tags r:id="rId1"/>
              </p:custDataLst>
            </p:nvPr>
          </p:nvSpPr>
          <p:spPr bwMode="gray">
            <a:xfrm>
              <a:off x="5255962" y="2322392"/>
              <a:ext cx="1335338" cy="398752"/>
            </a:xfrm>
            <a:prstGeom prst="roundRect">
              <a:avLst>
                <a:gd name="adj" fmla="val 9402"/>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IN" sz="950">
                <a:solidFill>
                  <a:schemeClr val="tx1"/>
                </a:solidFill>
              </a:endParaRPr>
            </a:p>
          </p:txBody>
        </p:sp>
        <p:sp>
          <p:nvSpPr>
            <p:cNvPr id="4" name="Left Arrow Callout 3"/>
            <p:cNvSpPr/>
            <p:nvPr>
              <p:custDataLst>
                <p:tags r:id="rId2"/>
              </p:custDataLst>
            </p:nvPr>
          </p:nvSpPr>
          <p:spPr bwMode="gray">
            <a:xfrm>
              <a:off x="4152900" y="1691019"/>
              <a:ext cx="2428875" cy="1530646"/>
            </a:xfrm>
            <a:prstGeom prst="leftArrowCallout">
              <a:avLst/>
            </a:prstGeom>
            <a:solidFill>
              <a:schemeClr val="bg1">
                <a:lumMod val="8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ounded Rectangle 4"/>
            <p:cNvSpPr/>
            <p:nvPr>
              <p:custDataLst>
                <p:tags r:id="rId3"/>
              </p:custDataLst>
            </p:nvPr>
          </p:nvSpPr>
          <p:spPr bwMode="gray">
            <a:xfrm>
              <a:off x="510354" y="2055628"/>
              <a:ext cx="1786279" cy="867440"/>
            </a:xfrm>
            <a:prstGeom prst="roundRect">
              <a:avLst>
                <a:gd name="adj" fmla="val 9402"/>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1000" dirty="0" err="1" smtClean="0">
                  <a:solidFill>
                    <a:schemeClr val="bg1"/>
                  </a:solidFill>
                </a:rPr>
                <a:t>OnputFormat</a:t>
              </a:r>
              <a:r>
                <a:rPr lang="en-IN" sz="1000" dirty="0" smtClean="0">
                  <a:solidFill>
                    <a:schemeClr val="bg1"/>
                  </a:solidFill>
                </a:rPr>
                <a:t> &lt;K,V&gt;</a:t>
              </a:r>
            </a:p>
            <a:p>
              <a:pPr algn="ctr"/>
              <a:r>
                <a:rPr lang="en-IN" sz="1000" dirty="0" err="1" smtClean="0">
                  <a:solidFill>
                    <a:schemeClr val="bg1"/>
                  </a:solidFill>
                </a:rPr>
                <a:t>org.apache.hadoop.mapreduce</a:t>
              </a:r>
              <a:endParaRPr lang="en-IN" sz="1000" dirty="0">
                <a:solidFill>
                  <a:schemeClr val="bg1"/>
                </a:solidFill>
              </a:endParaRPr>
            </a:p>
          </p:txBody>
        </p:sp>
        <p:sp>
          <p:nvSpPr>
            <p:cNvPr id="6" name="Rounded Rectangle 5"/>
            <p:cNvSpPr/>
            <p:nvPr>
              <p:custDataLst>
                <p:tags r:id="rId4"/>
              </p:custDataLst>
            </p:nvPr>
          </p:nvSpPr>
          <p:spPr bwMode="gray">
            <a:xfrm>
              <a:off x="2755901" y="2055628"/>
              <a:ext cx="1520889" cy="867440"/>
            </a:xfrm>
            <a:prstGeom prst="roundRect">
              <a:avLst>
                <a:gd name="adj" fmla="val 9402"/>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1000" smtClean="0">
                  <a:solidFill>
                    <a:schemeClr val="bg1"/>
                  </a:solidFill>
                </a:rPr>
                <a:t>FileOnputFormat &lt;K,V&gt;</a:t>
              </a:r>
              <a:endParaRPr lang="en-IN" sz="1000">
                <a:solidFill>
                  <a:schemeClr val="bg1"/>
                </a:solidFill>
              </a:endParaRPr>
            </a:p>
          </p:txBody>
        </p:sp>
        <p:sp>
          <p:nvSpPr>
            <p:cNvPr id="7" name="Rounded Rectangle 6"/>
            <p:cNvSpPr/>
            <p:nvPr>
              <p:custDataLst>
                <p:tags r:id="rId5"/>
              </p:custDataLst>
            </p:nvPr>
          </p:nvSpPr>
          <p:spPr bwMode="gray">
            <a:xfrm>
              <a:off x="2870201" y="3739228"/>
              <a:ext cx="1520889" cy="669318"/>
            </a:xfrm>
            <a:prstGeom prst="roundRect">
              <a:avLst>
                <a:gd name="adj" fmla="val 9402"/>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1000" smtClean="0">
                  <a:solidFill>
                    <a:schemeClr val="bg1"/>
                  </a:solidFill>
                </a:rPr>
                <a:t>NullOutputFormat &lt;K,V&gt;</a:t>
              </a:r>
              <a:endParaRPr lang="en-IN" sz="1000">
                <a:solidFill>
                  <a:schemeClr val="bg1"/>
                </a:solidFill>
              </a:endParaRPr>
            </a:p>
          </p:txBody>
        </p:sp>
        <p:sp>
          <p:nvSpPr>
            <p:cNvPr id="9" name="Rounded Rectangle 8"/>
            <p:cNvSpPr/>
            <p:nvPr>
              <p:custDataLst>
                <p:tags r:id="rId6"/>
              </p:custDataLst>
            </p:nvPr>
          </p:nvSpPr>
          <p:spPr bwMode="gray">
            <a:xfrm>
              <a:off x="4711701" y="5355082"/>
              <a:ext cx="1698624" cy="669318"/>
            </a:xfrm>
            <a:prstGeom prst="roundRect">
              <a:avLst>
                <a:gd name="adj" fmla="val 9402"/>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1000" smtClean="0">
                  <a:solidFill>
                    <a:schemeClr val="bg1"/>
                  </a:solidFill>
                </a:rPr>
                <a:t>LazyOutputFormat &lt;K,V&gt;</a:t>
              </a:r>
              <a:endParaRPr lang="en-IN" sz="1000">
                <a:solidFill>
                  <a:schemeClr val="bg1"/>
                </a:solidFill>
              </a:endParaRPr>
            </a:p>
          </p:txBody>
        </p:sp>
        <p:sp>
          <p:nvSpPr>
            <p:cNvPr id="10" name="Rounded Rectangle 9"/>
            <p:cNvSpPr/>
            <p:nvPr>
              <p:custDataLst>
                <p:tags r:id="rId7"/>
              </p:custDataLst>
            </p:nvPr>
          </p:nvSpPr>
          <p:spPr bwMode="gray">
            <a:xfrm>
              <a:off x="7218111" y="3165305"/>
              <a:ext cx="1278190" cy="669318"/>
            </a:xfrm>
            <a:prstGeom prst="roundRect">
              <a:avLst>
                <a:gd name="adj" fmla="val 9402"/>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1000" smtClean="0">
                  <a:solidFill>
                    <a:schemeClr val="bg1"/>
                  </a:solidFill>
                </a:rPr>
                <a:t>SequenceFileAs BinaryOnputFormat</a:t>
              </a:r>
              <a:endParaRPr lang="en-IN" sz="1000">
                <a:solidFill>
                  <a:schemeClr val="bg1"/>
                </a:solidFill>
              </a:endParaRPr>
            </a:p>
          </p:txBody>
        </p:sp>
        <p:sp>
          <p:nvSpPr>
            <p:cNvPr id="14" name="Rounded Rectangle 13"/>
            <p:cNvSpPr/>
            <p:nvPr>
              <p:custDataLst>
                <p:tags r:id="rId8"/>
              </p:custDataLst>
            </p:nvPr>
          </p:nvSpPr>
          <p:spPr bwMode="gray">
            <a:xfrm>
              <a:off x="5132137" y="1882577"/>
              <a:ext cx="1335338" cy="398752"/>
            </a:xfrm>
            <a:prstGeom prst="roundRect">
              <a:avLst>
                <a:gd name="adj" fmla="val 9402"/>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950" smtClean="0">
                  <a:solidFill>
                    <a:schemeClr val="bg1"/>
                  </a:solidFill>
                </a:rPr>
                <a:t>TextOnputFormat</a:t>
              </a:r>
            </a:p>
            <a:p>
              <a:pPr algn="ctr"/>
              <a:r>
                <a:rPr lang="en-IN" sz="950" smtClean="0">
                  <a:solidFill>
                    <a:schemeClr val="bg1"/>
                  </a:solidFill>
                </a:rPr>
                <a:t>&lt;K,V&gt;</a:t>
              </a:r>
              <a:endParaRPr lang="en-IN" sz="950">
                <a:solidFill>
                  <a:schemeClr val="bg1"/>
                </a:solidFill>
              </a:endParaRPr>
            </a:p>
          </p:txBody>
        </p:sp>
        <p:sp>
          <p:nvSpPr>
            <p:cNvPr id="15" name="Rounded Rectangle 14"/>
            <p:cNvSpPr/>
            <p:nvPr>
              <p:custDataLst>
                <p:tags r:id="rId9"/>
              </p:custDataLst>
            </p:nvPr>
          </p:nvSpPr>
          <p:spPr bwMode="gray">
            <a:xfrm>
              <a:off x="5132137" y="2590688"/>
              <a:ext cx="1335338" cy="398752"/>
            </a:xfrm>
            <a:prstGeom prst="roundRect">
              <a:avLst>
                <a:gd name="adj" fmla="val 9402"/>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950" smtClean="0">
                  <a:solidFill>
                    <a:schemeClr val="bg1"/>
                  </a:solidFill>
                </a:rPr>
                <a:t>SequenceFile OutputFormat &lt;K,V&gt;</a:t>
              </a:r>
              <a:endParaRPr lang="en-IN" sz="950">
                <a:solidFill>
                  <a:schemeClr val="bg1"/>
                </a:solidFill>
              </a:endParaRPr>
            </a:p>
          </p:txBody>
        </p:sp>
        <p:cxnSp>
          <p:nvCxnSpPr>
            <p:cNvPr id="21" name="Straight Arrow Connector 20"/>
            <p:cNvCxnSpPr>
              <a:stCxn id="9" idx="1"/>
              <a:endCxn id="28" idx="3"/>
            </p:cNvCxnSpPr>
            <p:nvPr/>
          </p:nvCxnSpPr>
          <p:spPr bwMode="gray">
            <a:xfrm flipH="1">
              <a:off x="4391090" y="5689741"/>
              <a:ext cx="320611"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27" idx="1"/>
              <a:endCxn id="5" idx="3"/>
            </p:cNvCxnSpPr>
            <p:nvPr>
              <p:custDataLst>
                <p:tags r:id="rId10"/>
              </p:custDataLst>
            </p:nvPr>
          </p:nvCxnSpPr>
          <p:spPr bwMode="gray">
            <a:xfrm rot="10800000">
              <a:off x="2296633" y="2489348"/>
              <a:ext cx="573568" cy="2403246"/>
            </a:xfrm>
            <a:prstGeom prst="bentConnector3">
              <a:avLst>
                <a:gd name="adj1" fmla="val 5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7" idx="1"/>
              <a:endCxn id="5" idx="3"/>
            </p:cNvCxnSpPr>
            <p:nvPr>
              <p:custDataLst>
                <p:tags r:id="rId11"/>
              </p:custDataLst>
            </p:nvPr>
          </p:nvCxnSpPr>
          <p:spPr bwMode="gray">
            <a:xfrm rot="10800000">
              <a:off x="2296633" y="2489349"/>
              <a:ext cx="573568" cy="1584539"/>
            </a:xfrm>
            <a:prstGeom prst="bentConnector3">
              <a:avLst>
                <a:gd name="adj1" fmla="val 5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6" idx="1"/>
              <a:endCxn id="5" idx="3"/>
            </p:cNvCxnSpPr>
            <p:nvPr/>
          </p:nvCxnSpPr>
          <p:spPr bwMode="gray">
            <a:xfrm flipH="1">
              <a:off x="2296633" y="2489348"/>
              <a:ext cx="459268"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Rounded Rectangle 26"/>
            <p:cNvSpPr/>
            <p:nvPr>
              <p:custDataLst>
                <p:tags r:id="rId12"/>
              </p:custDataLst>
            </p:nvPr>
          </p:nvSpPr>
          <p:spPr bwMode="gray">
            <a:xfrm>
              <a:off x="2870201" y="4557935"/>
              <a:ext cx="1520889" cy="669318"/>
            </a:xfrm>
            <a:prstGeom prst="roundRect">
              <a:avLst>
                <a:gd name="adj" fmla="val 9402"/>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1000" smtClean="0">
                  <a:solidFill>
                    <a:schemeClr val="bg1"/>
                  </a:solidFill>
                </a:rPr>
                <a:t>DBoutputFormat &lt;K,V&gt;</a:t>
              </a:r>
              <a:endParaRPr lang="en-IN" sz="1000">
                <a:solidFill>
                  <a:schemeClr val="bg1"/>
                </a:solidFill>
              </a:endParaRPr>
            </a:p>
          </p:txBody>
        </p:sp>
        <p:sp>
          <p:nvSpPr>
            <p:cNvPr id="28" name="Rounded Rectangle 27"/>
            <p:cNvSpPr/>
            <p:nvPr>
              <p:custDataLst>
                <p:tags r:id="rId13"/>
              </p:custDataLst>
            </p:nvPr>
          </p:nvSpPr>
          <p:spPr bwMode="gray">
            <a:xfrm>
              <a:off x="2870201" y="5355082"/>
              <a:ext cx="1520889" cy="669318"/>
            </a:xfrm>
            <a:prstGeom prst="roundRect">
              <a:avLst>
                <a:gd name="adj" fmla="val 9402"/>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1000" smtClean="0">
                  <a:solidFill>
                    <a:schemeClr val="bg1"/>
                  </a:solidFill>
                </a:rPr>
                <a:t>FileOutputFormat &lt;K,V&gt;</a:t>
              </a:r>
              <a:endParaRPr lang="en-IN" sz="1000">
                <a:solidFill>
                  <a:schemeClr val="bg1"/>
                </a:solidFill>
              </a:endParaRPr>
            </a:p>
          </p:txBody>
        </p:sp>
        <p:cxnSp>
          <p:nvCxnSpPr>
            <p:cNvPr id="31" name="Elbow Connector 30"/>
            <p:cNvCxnSpPr>
              <a:stCxn id="10" idx="1"/>
              <a:endCxn id="4" idx="3"/>
            </p:cNvCxnSpPr>
            <p:nvPr>
              <p:custDataLst>
                <p:tags r:id="rId14"/>
              </p:custDataLst>
            </p:nvPr>
          </p:nvCxnSpPr>
          <p:spPr bwMode="gray">
            <a:xfrm rot="10800000">
              <a:off x="6581775" y="2456342"/>
              <a:ext cx="636336" cy="1043622"/>
            </a:xfrm>
            <a:prstGeom prst="bentConnector3">
              <a:avLst>
                <a:gd name="adj1" fmla="val 5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28" idx="1"/>
              <a:endCxn id="5" idx="3"/>
            </p:cNvCxnSpPr>
            <p:nvPr>
              <p:custDataLst>
                <p:tags r:id="rId15"/>
              </p:custDataLst>
            </p:nvPr>
          </p:nvCxnSpPr>
          <p:spPr bwMode="gray">
            <a:xfrm rot="10800000">
              <a:off x="2296633" y="2489349"/>
              <a:ext cx="573568" cy="3200393"/>
            </a:xfrm>
            <a:prstGeom prst="bentConnector3">
              <a:avLst>
                <a:gd name="adj1" fmla="val 5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11289447"/>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Map Reduce</a:t>
            </a:r>
            <a:endParaRPr lang="en-IN" dirty="0"/>
          </a:p>
        </p:txBody>
      </p:sp>
      <p:sp>
        <p:nvSpPr>
          <p:cNvPr id="3" name="Content Placeholder 2"/>
          <p:cNvSpPr>
            <a:spLocks noGrp="1"/>
          </p:cNvSpPr>
          <p:nvPr>
            <p:ph type="body" sz="quarter" idx="10"/>
          </p:nvPr>
        </p:nvSpPr>
        <p:spPr bwMode="gray">
          <a:xfrm>
            <a:off x="563531" y="1981200"/>
            <a:ext cx="8275670" cy="3416320"/>
          </a:xfrm>
        </p:spPr>
        <p:txBody>
          <a:bodyPr wrap="square" lIns="0" tIns="0" rIns="0" bIns="0">
            <a:spAutoFit/>
          </a:bodyPr>
          <a:lstStyle/>
          <a:p>
            <a:pPr marL="233363" indent="-233363">
              <a:lnSpc>
                <a:spcPct val="100000"/>
              </a:lnSpc>
              <a:spcBef>
                <a:spcPts val="1200"/>
              </a:spcBef>
            </a:pPr>
            <a:r>
              <a:rPr lang="en-IN" sz="2000" dirty="0" smtClean="0">
                <a:solidFill>
                  <a:schemeClr val="tx1"/>
                </a:solidFill>
              </a:rPr>
              <a:t>One file is divided into multiple blocks</a:t>
            </a:r>
          </a:p>
          <a:p>
            <a:pPr marL="457200" lvl="1" indent="-236538">
              <a:spcBef>
                <a:spcPts val="800"/>
              </a:spcBef>
            </a:pPr>
            <a:r>
              <a:rPr lang="en-IN" sz="1800" dirty="0" smtClean="0"/>
              <a:t>Done transparently by HDFS</a:t>
            </a:r>
          </a:p>
          <a:p>
            <a:pPr marL="233363" indent="-233363">
              <a:lnSpc>
                <a:spcPct val="100000"/>
              </a:lnSpc>
              <a:spcBef>
                <a:spcPts val="1200"/>
              </a:spcBef>
            </a:pPr>
            <a:r>
              <a:rPr lang="en-IN" sz="2000" dirty="0" smtClean="0">
                <a:solidFill>
                  <a:schemeClr val="tx1"/>
                </a:solidFill>
              </a:rPr>
              <a:t>Once the file is divided into blocks, each node can work on the blocks which it has available locally (sometimes remotely)</a:t>
            </a:r>
          </a:p>
          <a:p>
            <a:pPr marL="233363" indent="-233363">
              <a:lnSpc>
                <a:spcPct val="100000"/>
              </a:lnSpc>
              <a:spcBef>
                <a:spcPts val="1200"/>
              </a:spcBef>
            </a:pPr>
            <a:r>
              <a:rPr lang="en-IN" sz="2000" dirty="0" smtClean="0">
                <a:solidFill>
                  <a:schemeClr val="tx1"/>
                </a:solidFill>
              </a:rPr>
              <a:t>One Mapper/Reducer per block</a:t>
            </a:r>
          </a:p>
          <a:p>
            <a:pPr marL="233363" indent="-233363">
              <a:lnSpc>
                <a:spcPct val="100000"/>
              </a:lnSpc>
              <a:spcBef>
                <a:spcPts val="1200"/>
              </a:spcBef>
            </a:pPr>
            <a:r>
              <a:rPr lang="en-IN" sz="2000" dirty="0" smtClean="0">
                <a:solidFill>
                  <a:schemeClr val="tx1"/>
                </a:solidFill>
              </a:rPr>
              <a:t>One call to map() method for each record</a:t>
            </a:r>
          </a:p>
          <a:p>
            <a:pPr marL="457200" lvl="1" indent="-236538">
              <a:spcBef>
                <a:spcPts val="800"/>
              </a:spcBef>
            </a:pPr>
            <a:r>
              <a:rPr lang="en-IN" sz="1800" dirty="0" smtClean="0"/>
              <a:t>One block/input split might contain multiple records</a:t>
            </a:r>
          </a:p>
          <a:p>
            <a:pPr marL="457200" lvl="1" indent="-236538">
              <a:spcBef>
                <a:spcPts val="800"/>
              </a:spcBef>
            </a:pPr>
            <a:r>
              <a:rPr lang="en-IN" sz="1800" dirty="0" smtClean="0"/>
              <a:t>One Record might be split between two input splits, </a:t>
            </a:r>
            <a:r>
              <a:rPr lang="en-IN" sz="1800" dirty="0" err="1" smtClean="0"/>
              <a:t>RecordReader</a:t>
            </a:r>
            <a:r>
              <a:rPr lang="en-IN" sz="1800" dirty="0" smtClean="0"/>
              <a:t> takes care of such records</a:t>
            </a:r>
            <a:endParaRPr lang="en-IN" sz="1800" dirty="0"/>
          </a:p>
        </p:txBody>
      </p:sp>
    </p:spTree>
    <p:extLst>
      <p:ext uri="{BB962C8B-B14F-4D97-AF65-F5344CB8AC3E}">
        <p14:creationId xmlns:p14="http://schemas.microsoft.com/office/powerpoint/2010/main" val="2411849518"/>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How Hadoop Does It?</a:t>
            </a:r>
            <a:endParaRPr lang="en-IN" dirty="0"/>
          </a:p>
        </p:txBody>
      </p:sp>
      <p:sp>
        <p:nvSpPr>
          <p:cNvPr id="3" name="Content Placeholder 2"/>
          <p:cNvSpPr>
            <a:spLocks noGrp="1"/>
          </p:cNvSpPr>
          <p:nvPr>
            <p:ph type="body" sz="quarter" idx="10"/>
          </p:nvPr>
        </p:nvSpPr>
        <p:spPr bwMode="gray">
          <a:xfrm>
            <a:off x="563530" y="1981200"/>
            <a:ext cx="8275670" cy="2492990"/>
          </a:xfrm>
        </p:spPr>
        <p:txBody>
          <a:bodyPr wrap="square" lIns="0" tIns="0" rIns="0" bIns="0">
            <a:spAutoFit/>
          </a:bodyPr>
          <a:lstStyle/>
          <a:p>
            <a:pPr marL="233363" indent="-233363">
              <a:lnSpc>
                <a:spcPct val="100000"/>
              </a:lnSpc>
              <a:spcBef>
                <a:spcPts val="1200"/>
              </a:spcBef>
            </a:pPr>
            <a:r>
              <a:rPr lang="en-IN" sz="2000" dirty="0" smtClean="0">
                <a:solidFill>
                  <a:schemeClr val="tx1"/>
                </a:solidFill>
              </a:rPr>
              <a:t>Hadoop’s Map Reduce Framework has two major components</a:t>
            </a:r>
          </a:p>
          <a:p>
            <a:pPr marL="457200" lvl="1" indent="-236538">
              <a:spcBef>
                <a:spcPts val="800"/>
              </a:spcBef>
            </a:pPr>
            <a:r>
              <a:rPr lang="en-IN" sz="1800" dirty="0" smtClean="0"/>
              <a:t>Job Tracker</a:t>
            </a:r>
          </a:p>
          <a:p>
            <a:pPr marL="457200" lvl="1" indent="-236538">
              <a:spcBef>
                <a:spcPts val="800"/>
              </a:spcBef>
            </a:pPr>
            <a:r>
              <a:rPr lang="en-IN" sz="1800" dirty="0" smtClean="0"/>
              <a:t>Task Tracker</a:t>
            </a:r>
          </a:p>
          <a:p>
            <a:pPr marL="233363" indent="-233363">
              <a:lnSpc>
                <a:spcPct val="100000"/>
              </a:lnSpc>
              <a:spcBef>
                <a:spcPts val="1200"/>
              </a:spcBef>
            </a:pPr>
            <a:r>
              <a:rPr lang="en-IN" sz="2000" dirty="0" smtClean="0">
                <a:solidFill>
                  <a:schemeClr val="tx1"/>
                </a:solidFill>
              </a:rPr>
              <a:t>Job Tracker and Task Tracker are two Java modules which take care of Running a Map-Reduce-Kind of program over a number of cluster nodes</a:t>
            </a:r>
          </a:p>
          <a:p>
            <a:pPr marL="457200" lvl="1" indent="-236538">
              <a:spcBef>
                <a:spcPts val="800"/>
              </a:spcBef>
            </a:pPr>
            <a:r>
              <a:rPr lang="en-IN" sz="1800" dirty="0" smtClean="0"/>
              <a:t>They keep programmer transparent of cluster and do the housekeeping for distributed computing</a:t>
            </a:r>
          </a:p>
        </p:txBody>
      </p:sp>
    </p:spTree>
    <p:extLst>
      <p:ext uri="{BB962C8B-B14F-4D97-AF65-F5344CB8AC3E}">
        <p14:creationId xmlns:p14="http://schemas.microsoft.com/office/powerpoint/2010/main" val="4052095063"/>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a:t>Job Tracker </a:t>
            </a:r>
            <a:r>
              <a:rPr lang="en-IN" smtClean="0"/>
              <a:t>and </a:t>
            </a:r>
            <a:r>
              <a:rPr lang="en-IN"/>
              <a:t>Task Tracker</a:t>
            </a:r>
          </a:p>
        </p:txBody>
      </p:sp>
      <p:sp>
        <p:nvSpPr>
          <p:cNvPr id="4" name="Content Placeholder 2"/>
          <p:cNvSpPr txBox="1">
            <a:spLocks/>
          </p:cNvSpPr>
          <p:nvPr/>
        </p:nvSpPr>
        <p:spPr bwMode="gray">
          <a:xfrm>
            <a:off x="566738" y="1600200"/>
            <a:ext cx="8272462" cy="3939540"/>
          </a:xfrm>
          <a:prstGeom prst="rect">
            <a:avLst/>
          </a:prstGeom>
        </p:spPr>
        <p:txBody>
          <a:bodyPr wrap="square" lIns="0" tIns="0" rIns="0" bIns="0">
            <a:spAutoFit/>
          </a:bodyPr>
          <a:lstStyle>
            <a:lvl1pPr marL="342900" indent="-342900" algn="l" defTabSz="457200" rtl="0" eaLnBrk="1" latinLnBrk="0" hangingPunct="1">
              <a:spcBef>
                <a:spcPct val="20000"/>
              </a:spcBef>
              <a:buFont typeface="Arial"/>
              <a:buNone/>
              <a:defRPr sz="1600" b="0" kern="1200">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33363" indent="-233363">
              <a:spcBef>
                <a:spcPts val="1600"/>
              </a:spcBef>
              <a:buClr>
                <a:schemeClr val="bg2"/>
              </a:buClr>
              <a:buSzPct val="125000"/>
              <a:buFont typeface="Calibri" panose="020F0502020204030204" pitchFamily="34" charset="0"/>
              <a:buChar char="›"/>
            </a:pPr>
            <a:r>
              <a:rPr lang="en-IN" sz="1800" dirty="0" smtClean="0">
                <a:solidFill>
                  <a:schemeClr val="tx1"/>
                </a:solidFill>
              </a:rPr>
              <a:t>The primary function of the job tracker is resource management (managing the task trackers), tracking resource availability and task life cycle management (tracking its progress, fault tolerance etc.)</a:t>
            </a:r>
          </a:p>
          <a:p>
            <a:pPr marL="233363" indent="-233363">
              <a:spcBef>
                <a:spcPts val="1600"/>
              </a:spcBef>
              <a:buClr>
                <a:schemeClr val="bg2"/>
              </a:buClr>
              <a:buSzPct val="125000"/>
              <a:buFont typeface="Calibri" panose="020F0502020204030204" pitchFamily="34" charset="0"/>
              <a:buChar char="›"/>
            </a:pPr>
            <a:r>
              <a:rPr lang="en-IN" sz="1800" dirty="0" smtClean="0">
                <a:solidFill>
                  <a:schemeClr val="tx1"/>
                </a:solidFill>
              </a:rPr>
              <a:t>The task tracker has a simple function of following the orders of the job tracker and updating the job tracker with its progress status periodically.</a:t>
            </a:r>
          </a:p>
          <a:p>
            <a:pPr marL="233363" indent="-233363">
              <a:spcBef>
                <a:spcPts val="1600"/>
              </a:spcBef>
              <a:buClr>
                <a:schemeClr val="bg2"/>
              </a:buClr>
              <a:buSzPct val="125000"/>
              <a:buFont typeface="Calibri" panose="020F0502020204030204" pitchFamily="34" charset="0"/>
              <a:buChar char="›"/>
            </a:pPr>
            <a:r>
              <a:rPr lang="en-IN" sz="1800" dirty="0" smtClean="0">
                <a:solidFill>
                  <a:schemeClr val="tx1"/>
                </a:solidFill>
              </a:rPr>
              <a:t>The task tracker is pre-configured with a number of slots indicating the number of tasks it can accept. When the job tracker tries to schedule a task, </a:t>
            </a:r>
            <a:r>
              <a:rPr lang="en-IN" sz="1800" i="1" dirty="0" smtClean="0">
                <a:solidFill>
                  <a:schemeClr val="tx1"/>
                </a:solidFill>
              </a:rPr>
              <a:t>it looks for an empty slot in the </a:t>
            </a:r>
            <a:r>
              <a:rPr lang="en-IN" sz="1800" i="1" dirty="0" err="1" smtClean="0">
                <a:solidFill>
                  <a:schemeClr val="tx1"/>
                </a:solidFill>
              </a:rPr>
              <a:t>tasktracker</a:t>
            </a:r>
            <a:r>
              <a:rPr lang="en-IN" sz="1800" i="1" dirty="0" smtClean="0">
                <a:solidFill>
                  <a:schemeClr val="tx1"/>
                </a:solidFill>
              </a:rPr>
              <a:t> running on the same server which hosts the </a:t>
            </a:r>
            <a:r>
              <a:rPr lang="en-IN" sz="1800" i="1" dirty="0" err="1" smtClean="0">
                <a:solidFill>
                  <a:schemeClr val="tx1"/>
                </a:solidFill>
              </a:rPr>
              <a:t>datanode</a:t>
            </a:r>
            <a:r>
              <a:rPr lang="en-IN" sz="1800" i="1" dirty="0" smtClean="0">
                <a:solidFill>
                  <a:schemeClr val="tx1"/>
                </a:solidFill>
              </a:rPr>
              <a:t> where the data for that task resides. If not found, it looks for the machine in the same rack</a:t>
            </a:r>
            <a:r>
              <a:rPr lang="en-IN" sz="1800" dirty="0" smtClean="0">
                <a:solidFill>
                  <a:schemeClr val="tx1"/>
                </a:solidFill>
              </a:rPr>
              <a:t>. There is no consideration of system load during this allocation.</a:t>
            </a:r>
          </a:p>
          <a:p>
            <a:pPr marL="233363" indent="-233363">
              <a:spcBef>
                <a:spcPts val="1600"/>
              </a:spcBef>
              <a:buClr>
                <a:schemeClr val="bg2"/>
              </a:buClr>
              <a:buSzPct val="125000"/>
              <a:buFont typeface="Calibri" panose="020F0502020204030204" pitchFamily="34" charset="0"/>
              <a:buChar char="›"/>
            </a:pPr>
            <a:r>
              <a:rPr lang="en-IN" sz="1800" dirty="0" smtClean="0">
                <a:solidFill>
                  <a:schemeClr val="tx1"/>
                </a:solidFill>
              </a:rPr>
              <a:t>The </a:t>
            </a:r>
            <a:r>
              <a:rPr lang="en-IN" sz="1800" dirty="0" err="1" smtClean="0">
                <a:solidFill>
                  <a:schemeClr val="tx1"/>
                </a:solidFill>
              </a:rPr>
              <a:t>TaskTrackers</a:t>
            </a:r>
            <a:r>
              <a:rPr lang="en-IN" sz="1800" dirty="0" smtClean="0">
                <a:solidFill>
                  <a:schemeClr val="tx1"/>
                </a:solidFill>
              </a:rPr>
              <a:t> send out heartbeat messages to the </a:t>
            </a:r>
            <a:r>
              <a:rPr lang="en-IN" sz="1800" dirty="0" err="1" smtClean="0">
                <a:solidFill>
                  <a:schemeClr val="tx1"/>
                </a:solidFill>
              </a:rPr>
              <a:t>JobTracker</a:t>
            </a:r>
            <a:r>
              <a:rPr lang="en-IN" sz="1800" dirty="0" smtClean="0">
                <a:solidFill>
                  <a:schemeClr val="tx1"/>
                </a:solidFill>
              </a:rPr>
              <a:t>, usually every few minutes, to reassure the </a:t>
            </a:r>
            <a:r>
              <a:rPr lang="en-IN" sz="1800" dirty="0" err="1" smtClean="0">
                <a:solidFill>
                  <a:schemeClr val="tx1"/>
                </a:solidFill>
              </a:rPr>
              <a:t>JobTracker</a:t>
            </a:r>
            <a:r>
              <a:rPr lang="en-IN" sz="1800" dirty="0" smtClean="0">
                <a:solidFill>
                  <a:schemeClr val="tx1"/>
                </a:solidFill>
              </a:rPr>
              <a:t> that it is still alive</a:t>
            </a:r>
            <a:endParaRPr lang="en-IN" sz="1800" dirty="0">
              <a:solidFill>
                <a:schemeClr val="tx1"/>
              </a:solidFill>
            </a:endParaRPr>
          </a:p>
        </p:txBody>
      </p:sp>
    </p:spTree>
    <p:extLst>
      <p:ext uri="{BB962C8B-B14F-4D97-AF65-F5344CB8AC3E}">
        <p14:creationId xmlns:p14="http://schemas.microsoft.com/office/powerpoint/2010/main" val="311863297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3 V’s of BIGDATA</a:t>
            </a:r>
            <a:endParaRPr lang="en-IN"/>
          </a:p>
        </p:txBody>
      </p:sp>
      <p:sp>
        <p:nvSpPr>
          <p:cNvPr id="4" name="Isosceles Triangle 3"/>
          <p:cNvSpPr/>
          <p:nvPr/>
        </p:nvSpPr>
        <p:spPr bwMode="gray">
          <a:xfrm>
            <a:off x="1009520" y="1350335"/>
            <a:ext cx="4848448" cy="4848448"/>
          </a:xfrm>
          <a:prstGeom prst="triangle">
            <a:avLst/>
          </a:prstGeom>
          <a:solidFill>
            <a:schemeClr val="bg2"/>
          </a:solidFill>
          <a:ln w="19050">
            <a:noFill/>
            <a:round/>
            <a:headEnd/>
            <a:tailEnd/>
          </a:ln>
          <a:effectLst/>
        </p:spPr>
        <p:txBody>
          <a:bodyPr vert="horz" wrap="square" lIns="0" tIns="0" rIns="0" bIns="0" numCol="1" anchor="ctr" anchorCtr="0" compatLnSpc="1">
            <a:prstTxWarp prst="textNoShape">
              <a:avLst/>
            </a:prstTxWarp>
          </a:bodyPr>
          <a:lstStyle/>
          <a:p>
            <a:pPr algn="ctr"/>
            <a:endParaRPr lang="en-IN" sz="1100">
              <a:solidFill>
                <a:schemeClr val="bg1"/>
              </a:solidFill>
            </a:endParaRPr>
          </a:p>
        </p:txBody>
      </p:sp>
      <p:sp>
        <p:nvSpPr>
          <p:cNvPr id="5" name="Freeform 2"/>
          <p:cNvSpPr>
            <a:spLocks/>
          </p:cNvSpPr>
          <p:nvPr>
            <p:custDataLst>
              <p:tags r:id="rId1"/>
            </p:custDataLst>
          </p:nvPr>
        </p:nvSpPr>
        <p:spPr bwMode="gray">
          <a:xfrm>
            <a:off x="3466232" y="2094617"/>
            <a:ext cx="3157870" cy="1010091"/>
          </a:xfrm>
          <a:prstGeom prst="roundRect">
            <a:avLst/>
          </a:prstGeom>
          <a:solidFill>
            <a:schemeClr val="bg1">
              <a:lumMod val="95000"/>
            </a:schemeClr>
          </a:solidFill>
          <a:ln w="9525">
            <a:solidFill>
              <a:schemeClr val="bg1">
                <a:lumMod val="65000"/>
              </a:schemeClr>
            </a:solidFill>
            <a:round/>
            <a:headEnd/>
            <a:tailEnd/>
          </a:ln>
          <a:effectLst/>
        </p:spPr>
        <p:txBody>
          <a:bodyPr vert="horz" wrap="square" lIns="0" tIns="0" rIns="0" bIns="0" numCol="1" anchor="ctr" anchorCtr="0" compatLnSpc="1">
            <a:prstTxWarp prst="textNoShape">
              <a:avLst/>
            </a:prstTxWarp>
          </a:bodyPr>
          <a:lstStyle/>
          <a:p>
            <a:pPr algn="ctr"/>
            <a:r>
              <a:rPr lang="en-IN" sz="1600"/>
              <a:t>Volume: 12 terabytes of Tweets created each day</a:t>
            </a:r>
          </a:p>
        </p:txBody>
      </p:sp>
      <p:sp>
        <p:nvSpPr>
          <p:cNvPr id="7" name="Freeform 2"/>
          <p:cNvSpPr>
            <a:spLocks/>
          </p:cNvSpPr>
          <p:nvPr>
            <p:custDataLst>
              <p:tags r:id="rId2"/>
            </p:custDataLst>
          </p:nvPr>
        </p:nvSpPr>
        <p:spPr bwMode="gray">
          <a:xfrm>
            <a:off x="3466232" y="3482166"/>
            <a:ext cx="3157870" cy="1010091"/>
          </a:xfrm>
          <a:prstGeom prst="roundRect">
            <a:avLst/>
          </a:prstGeom>
          <a:solidFill>
            <a:schemeClr val="bg1">
              <a:lumMod val="95000"/>
            </a:schemeClr>
          </a:solidFill>
          <a:ln w="9525">
            <a:solidFill>
              <a:schemeClr val="bg1">
                <a:lumMod val="65000"/>
              </a:schemeClr>
            </a:solidFill>
            <a:round/>
            <a:headEnd/>
            <a:tailEnd/>
          </a:ln>
          <a:effectLst/>
        </p:spPr>
        <p:txBody>
          <a:bodyPr vert="horz" wrap="square" lIns="0" tIns="0" rIns="0" bIns="0" numCol="1" anchor="ctr" anchorCtr="0" compatLnSpc="1">
            <a:prstTxWarp prst="textNoShape">
              <a:avLst/>
            </a:prstTxWarp>
          </a:bodyPr>
          <a:lstStyle/>
          <a:p>
            <a:pPr algn="ctr"/>
            <a:r>
              <a:rPr lang="en-IN" sz="1600"/>
              <a:t>Velocity: Scrutinize 5 million trade events created each day to identify potential fraud</a:t>
            </a:r>
          </a:p>
        </p:txBody>
      </p:sp>
      <p:sp>
        <p:nvSpPr>
          <p:cNvPr id="8" name="Freeform 2"/>
          <p:cNvSpPr>
            <a:spLocks/>
          </p:cNvSpPr>
          <p:nvPr>
            <p:custDataLst>
              <p:tags r:id="rId3"/>
            </p:custDataLst>
          </p:nvPr>
        </p:nvSpPr>
        <p:spPr bwMode="gray">
          <a:xfrm>
            <a:off x="3466232" y="4869715"/>
            <a:ext cx="3157870" cy="1010091"/>
          </a:xfrm>
          <a:prstGeom prst="roundRect">
            <a:avLst/>
          </a:prstGeom>
          <a:solidFill>
            <a:schemeClr val="bg1">
              <a:lumMod val="95000"/>
            </a:schemeClr>
          </a:solidFill>
          <a:ln w="9525">
            <a:solidFill>
              <a:schemeClr val="bg1">
                <a:lumMod val="65000"/>
              </a:schemeClr>
            </a:solidFill>
            <a:round/>
            <a:headEnd/>
            <a:tailEnd/>
          </a:ln>
          <a:effectLst/>
        </p:spPr>
        <p:txBody>
          <a:bodyPr vert="horz" wrap="square" lIns="0" tIns="0" rIns="0" bIns="0" numCol="1" anchor="ctr" anchorCtr="0" compatLnSpc="1">
            <a:prstTxWarp prst="textNoShape">
              <a:avLst/>
            </a:prstTxWarp>
          </a:bodyPr>
          <a:lstStyle/>
          <a:p>
            <a:pPr algn="ctr"/>
            <a:r>
              <a:rPr lang="en-IN" sz="1600"/>
              <a:t>Variety: Sensor data, audio, video, click streams, log files and more</a:t>
            </a:r>
          </a:p>
        </p:txBody>
      </p:sp>
    </p:spTree>
    <p:extLst>
      <p:ext uri="{BB962C8B-B14F-4D97-AF65-F5344CB8AC3E}">
        <p14:creationId xmlns:p14="http://schemas.microsoft.com/office/powerpoint/2010/main" val="2448591821"/>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a:t>Job Tracker </a:t>
            </a:r>
            <a:r>
              <a:rPr lang="en-IN" smtClean="0"/>
              <a:t>and </a:t>
            </a:r>
            <a:r>
              <a:rPr lang="en-IN"/>
              <a:t>Task Tracker</a:t>
            </a:r>
          </a:p>
        </p:txBody>
      </p:sp>
      <p:sp>
        <p:nvSpPr>
          <p:cNvPr id="3" name="Content Placeholder 2"/>
          <p:cNvSpPr txBox="1">
            <a:spLocks/>
          </p:cNvSpPr>
          <p:nvPr/>
        </p:nvSpPr>
        <p:spPr bwMode="gray">
          <a:xfrm>
            <a:off x="566738" y="1259944"/>
            <a:ext cx="8272462" cy="5211683"/>
          </a:xfrm>
          <a:prstGeom prst="rect">
            <a:avLst/>
          </a:prstGeom>
        </p:spPr>
        <p:txBody>
          <a:bodyPr lIns="0" tIns="0" rIns="0" bIns="0">
            <a:spAutoFit/>
          </a:bodyPr>
          <a:lstStyle>
            <a:lvl1pPr marL="342900" indent="-342900" algn="l" defTabSz="457200" rtl="0" eaLnBrk="1" latinLnBrk="0" hangingPunct="1">
              <a:spcBef>
                <a:spcPct val="20000"/>
              </a:spcBef>
              <a:buFont typeface="Arial"/>
              <a:buNone/>
              <a:defRPr sz="1600" b="0" kern="1200">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33363" indent="-233363">
              <a:spcBef>
                <a:spcPts val="1600"/>
              </a:spcBef>
              <a:buClr>
                <a:schemeClr val="bg2"/>
              </a:buClr>
              <a:buSzPct val="125000"/>
              <a:buFont typeface="Calibri" panose="020F0502020204030204" pitchFamily="34" charset="0"/>
              <a:buChar char="›"/>
            </a:pPr>
            <a:r>
              <a:rPr lang="en-IN" sz="1800" b="1" i="1" dirty="0" smtClean="0">
                <a:solidFill>
                  <a:schemeClr val="tx1"/>
                </a:solidFill>
              </a:rPr>
              <a:t>Job Performance</a:t>
            </a:r>
            <a:r>
              <a:rPr lang="en-IN" sz="1800" dirty="0" smtClean="0">
                <a:solidFill>
                  <a:schemeClr val="tx1"/>
                </a:solidFill>
              </a:rPr>
              <a:t> - Hadoop does speculative execution where if a machine is slow in the cluster and the map/reduce tasks running on this machine are holding on to the entire map/reduce phase, then it runs redundant jobs on other machines to process the same task, and whichever task gets completed first reports back to the job tracker and results from the same are carried forward into the next phase</a:t>
            </a:r>
          </a:p>
          <a:p>
            <a:pPr marL="233363" indent="-233363">
              <a:spcBef>
                <a:spcPts val="1600"/>
              </a:spcBef>
              <a:buClr>
                <a:schemeClr val="bg2"/>
              </a:buClr>
              <a:buSzPct val="125000"/>
              <a:buFont typeface="Calibri" panose="020F0502020204030204" pitchFamily="34" charset="0"/>
              <a:buChar char="›"/>
            </a:pPr>
            <a:r>
              <a:rPr lang="en-IN" sz="1800" b="1" i="1" dirty="0" smtClean="0">
                <a:solidFill>
                  <a:schemeClr val="tx1"/>
                </a:solidFill>
              </a:rPr>
              <a:t>Fault Tolerance </a:t>
            </a:r>
            <a:r>
              <a:rPr lang="en-IN" sz="1800" i="1" dirty="0" smtClean="0">
                <a:solidFill>
                  <a:schemeClr val="tx1"/>
                </a:solidFill>
              </a:rPr>
              <a:t>- </a:t>
            </a:r>
            <a:endParaRPr lang="en-IN" sz="1800" dirty="0" smtClean="0">
              <a:solidFill>
                <a:schemeClr val="tx1"/>
              </a:solidFill>
            </a:endParaRPr>
          </a:p>
          <a:p>
            <a:pPr marL="460375" lvl="1">
              <a:spcBef>
                <a:spcPts val="1600"/>
              </a:spcBef>
              <a:buClr>
                <a:schemeClr val="bg2"/>
              </a:buClr>
              <a:buSzPct val="125000"/>
              <a:buFont typeface="Calibri" panose="020F0502020204030204" pitchFamily="34" charset="0"/>
              <a:buChar char="»"/>
            </a:pPr>
            <a:r>
              <a:rPr lang="en-IN" sz="1600" dirty="0" smtClean="0">
                <a:solidFill>
                  <a:schemeClr val="tx1"/>
                </a:solidFill>
              </a:rPr>
              <a:t>The task tracker spawns different JVM processes to ensure that process failures do not bring down the task tracker.</a:t>
            </a:r>
          </a:p>
          <a:p>
            <a:pPr marL="460375" lvl="1">
              <a:spcBef>
                <a:spcPts val="1600"/>
              </a:spcBef>
              <a:buClr>
                <a:schemeClr val="bg2"/>
              </a:buClr>
              <a:buSzPct val="125000"/>
              <a:buFont typeface="Calibri" panose="020F0502020204030204" pitchFamily="34" charset="0"/>
              <a:buChar char="»"/>
            </a:pPr>
            <a:r>
              <a:rPr lang="en-IN" sz="1600" dirty="0" smtClean="0">
                <a:solidFill>
                  <a:schemeClr val="tx1"/>
                </a:solidFill>
              </a:rPr>
              <a:t>The task tracker keeps sending heartbeat messages to the job tracker to say that it is alive and to keep it updated with the number of empty slots available for running more tasks.</a:t>
            </a:r>
          </a:p>
          <a:p>
            <a:pPr marL="460375" lvl="1">
              <a:spcBef>
                <a:spcPts val="1600"/>
              </a:spcBef>
              <a:buClr>
                <a:schemeClr val="bg2"/>
              </a:buClr>
              <a:buSzPct val="125000"/>
              <a:buFont typeface="Calibri" panose="020F0502020204030204" pitchFamily="34" charset="0"/>
              <a:buChar char="»"/>
            </a:pPr>
            <a:r>
              <a:rPr lang="en-IN" sz="1600" dirty="0" smtClean="0">
                <a:solidFill>
                  <a:schemeClr val="tx1"/>
                </a:solidFill>
              </a:rPr>
              <a:t>From version 0.21 of Hadoop, the job tracker does some </a:t>
            </a:r>
            <a:r>
              <a:rPr lang="en-IN" sz="1600" dirty="0" err="1" smtClean="0">
                <a:solidFill>
                  <a:schemeClr val="tx1"/>
                </a:solidFill>
              </a:rPr>
              <a:t>checkpointing</a:t>
            </a:r>
            <a:r>
              <a:rPr lang="en-IN" sz="1600" dirty="0" smtClean="0">
                <a:solidFill>
                  <a:schemeClr val="tx1"/>
                </a:solidFill>
              </a:rPr>
              <a:t> of its work in the </a:t>
            </a:r>
            <a:r>
              <a:rPr lang="en-IN" sz="1600" dirty="0" err="1" smtClean="0">
                <a:solidFill>
                  <a:schemeClr val="tx1"/>
                </a:solidFill>
              </a:rPr>
              <a:t>filesystem</a:t>
            </a:r>
            <a:r>
              <a:rPr lang="en-IN" sz="1600" dirty="0" smtClean="0">
                <a:solidFill>
                  <a:schemeClr val="tx1"/>
                </a:solidFill>
              </a:rPr>
              <a:t>. Whenever, it starts up it checks what was it completed  till the last CP and resumes any incomplete jobs. Earlier, if the job tracker went down, all the active job information used to get lost.</a:t>
            </a:r>
          </a:p>
          <a:p>
            <a:pPr marL="233363" indent="-233363">
              <a:spcBef>
                <a:spcPts val="1600"/>
              </a:spcBef>
              <a:buClr>
                <a:schemeClr val="bg2"/>
              </a:buClr>
              <a:buSzPct val="125000"/>
              <a:buFont typeface="Calibri" panose="020F0502020204030204" pitchFamily="34" charset="0"/>
              <a:buChar char="›"/>
            </a:pPr>
            <a:r>
              <a:rPr lang="en-IN" sz="1800" dirty="0" smtClean="0">
                <a:solidFill>
                  <a:schemeClr val="tx1"/>
                </a:solidFill>
              </a:rPr>
              <a:t>The status and information about the job tracker and the task tracker are exposed via jetty onto a web interface</a:t>
            </a:r>
          </a:p>
        </p:txBody>
      </p:sp>
    </p:spTree>
    <p:extLst>
      <p:ext uri="{BB962C8B-B14F-4D97-AF65-F5344CB8AC3E}">
        <p14:creationId xmlns:p14="http://schemas.microsoft.com/office/powerpoint/2010/main" val="3121808127"/>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a:t>Job Tracker </a:t>
            </a:r>
            <a:r>
              <a:rPr lang="en-IN" smtClean="0"/>
              <a:t>and </a:t>
            </a:r>
            <a:r>
              <a:rPr lang="en-IN"/>
              <a:t>Task Tracker</a:t>
            </a:r>
          </a:p>
        </p:txBody>
      </p:sp>
      <p:sp>
        <p:nvSpPr>
          <p:cNvPr id="3" name="Content Placeholder 2"/>
          <p:cNvSpPr txBox="1">
            <a:spLocks/>
          </p:cNvSpPr>
          <p:nvPr/>
        </p:nvSpPr>
        <p:spPr bwMode="gray">
          <a:xfrm>
            <a:off x="566738" y="1047284"/>
            <a:ext cx="8272462" cy="5519460"/>
          </a:xfrm>
          <a:prstGeom prst="rect">
            <a:avLst/>
          </a:prstGeom>
        </p:spPr>
        <p:txBody>
          <a:bodyPr wrap="square" lIns="0" tIns="0" rIns="0" bIns="0">
            <a:spAutoFit/>
          </a:bodyPr>
          <a:lstStyle>
            <a:defPPr>
              <a:defRPr lang="en-US"/>
            </a:defPPr>
            <a:lvl1pPr marL="233363" indent="-233363" defTabSz="457200">
              <a:spcBef>
                <a:spcPts val="1200"/>
              </a:spcBef>
              <a:buClr>
                <a:schemeClr val="bg2"/>
              </a:buClr>
              <a:buSzPct val="125000"/>
              <a:buFont typeface="Calibri" panose="020F0502020204030204" pitchFamily="34" charset="0"/>
              <a:buChar char="›"/>
              <a:defRPr sz="1600" b="0">
                <a:latin typeface="Calibri"/>
                <a:cs typeface="Calibri"/>
              </a:defRPr>
            </a:lvl1pPr>
            <a:lvl2pPr marL="227013" indent="-227013" defTabSz="457200">
              <a:spcBef>
                <a:spcPct val="20000"/>
              </a:spcBef>
              <a:buClr>
                <a:srgbClr val="004080"/>
              </a:buClr>
              <a:buFont typeface="Arial"/>
              <a:buChar char="•"/>
              <a:defRPr sz="1400">
                <a:solidFill>
                  <a:schemeClr val="bg1">
                    <a:lumMod val="50000"/>
                  </a:schemeClr>
                </a:solidFill>
                <a:latin typeface="Calibri"/>
                <a:cs typeface="Calibri"/>
              </a:defRPr>
            </a:lvl2pPr>
            <a:lvl3pPr marL="452438" indent="-225425" defTabSz="457200">
              <a:spcBef>
                <a:spcPct val="20000"/>
              </a:spcBef>
              <a:buClr>
                <a:srgbClr val="004080"/>
              </a:buClr>
              <a:buFont typeface="Lucida Grande"/>
              <a:buChar char="−"/>
              <a:defRPr sz="1200">
                <a:solidFill>
                  <a:schemeClr val="bg1">
                    <a:lumMod val="50000"/>
                  </a:schemeClr>
                </a:solidFill>
                <a:latin typeface="Calibri"/>
                <a:cs typeface="Calibri"/>
              </a:defRPr>
            </a:lvl3pPr>
            <a:lvl4pPr marL="684213" indent="-231775" defTabSz="457200">
              <a:spcBef>
                <a:spcPct val="20000"/>
              </a:spcBef>
              <a:buFont typeface="Arial"/>
              <a:buChar char="–"/>
              <a:defRPr sz="1100">
                <a:solidFill>
                  <a:schemeClr val="bg1">
                    <a:lumMod val="50000"/>
                  </a:schemeClr>
                </a:solidFill>
                <a:latin typeface="Calibri"/>
                <a:cs typeface="Calibri"/>
              </a:defRPr>
            </a:lvl4pPr>
            <a:lvl5pPr marL="915988" indent="-231775" defTabSz="457200">
              <a:spcBef>
                <a:spcPct val="20000"/>
              </a:spcBef>
              <a:buFont typeface="Arial"/>
              <a:buChar char="»"/>
              <a:defRPr sz="1100">
                <a:solidFill>
                  <a:schemeClr val="bg1">
                    <a:lumMod val="50000"/>
                  </a:schemeClr>
                </a:solidFill>
                <a:latin typeface="Calibri"/>
                <a:cs typeface="Calibri"/>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a:spcBef>
                <a:spcPts val="1600"/>
              </a:spcBef>
            </a:pPr>
            <a:r>
              <a:rPr lang="en-IN" sz="1800"/>
              <a:t>Client applications submit jobs to the Job tracker.</a:t>
            </a:r>
          </a:p>
          <a:p>
            <a:pPr>
              <a:spcBef>
                <a:spcPts val="1600"/>
              </a:spcBef>
            </a:pPr>
            <a:r>
              <a:rPr lang="en-IN" sz="1800"/>
              <a:t>The JobTracker talks to the NameNode to determine the location of the data</a:t>
            </a:r>
          </a:p>
          <a:p>
            <a:pPr>
              <a:spcBef>
                <a:spcPts val="1600"/>
              </a:spcBef>
            </a:pPr>
            <a:r>
              <a:rPr lang="en-IN" sz="1800"/>
              <a:t>The JobTracker locates TaskTracker nodes with available slots at or near the data</a:t>
            </a:r>
          </a:p>
          <a:p>
            <a:pPr>
              <a:spcBef>
                <a:spcPts val="1600"/>
              </a:spcBef>
            </a:pPr>
            <a:r>
              <a:rPr lang="en-IN" sz="1800"/>
              <a:t>The JobTracker submits the work to the chosen TaskTracker nodes.</a:t>
            </a:r>
          </a:p>
          <a:p>
            <a:pPr>
              <a:spcBef>
                <a:spcPts val="1600"/>
              </a:spcBef>
            </a:pPr>
            <a:r>
              <a:rPr lang="en-IN" sz="1800"/>
              <a:t>The TaskTracker nodes are monitored. If they do not submit heartbeat signals often enough, they are deemed to have failed and the work is scheduled on a different TaskTracker.</a:t>
            </a:r>
          </a:p>
          <a:p>
            <a:pPr>
              <a:spcBef>
                <a:spcPts val="1600"/>
              </a:spcBef>
            </a:pPr>
            <a:r>
              <a:rPr lang="en-IN" sz="1800"/>
              <a:t>A TaskTracker will notify the JobTracker when a task fails. The JobTracker decides what to do then: it may resubmit the job elsewhere, it may mark that specific record as something to avoid, and it may even blacklist the TaskTracker as unreliable.</a:t>
            </a:r>
          </a:p>
          <a:p>
            <a:pPr>
              <a:spcBef>
                <a:spcPts val="1600"/>
              </a:spcBef>
            </a:pPr>
            <a:r>
              <a:rPr lang="en-IN" sz="1800"/>
              <a:t>When the work is completed, the JobTracker updates its status.</a:t>
            </a:r>
          </a:p>
          <a:p>
            <a:pPr>
              <a:spcBef>
                <a:spcPts val="1600"/>
              </a:spcBef>
            </a:pPr>
            <a:r>
              <a:rPr lang="en-IN" sz="1800"/>
              <a:t>Client applications can poll the JobTracker for information.</a:t>
            </a:r>
          </a:p>
          <a:p>
            <a:pPr>
              <a:spcBef>
                <a:spcPts val="1600"/>
              </a:spcBef>
            </a:pPr>
            <a:r>
              <a:rPr lang="en-IN" sz="1800"/>
              <a:t>The JobTracker is a point of failure for the Hadoop MapReduce service. If it goes down, all running jobs are halted.</a:t>
            </a:r>
            <a:endParaRPr lang="en-IN" sz="1800" dirty="0"/>
          </a:p>
        </p:txBody>
      </p:sp>
    </p:spTree>
    <p:extLst>
      <p:ext uri="{BB962C8B-B14F-4D97-AF65-F5344CB8AC3E}">
        <p14:creationId xmlns:p14="http://schemas.microsoft.com/office/powerpoint/2010/main" val="288558177"/>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MapReduce Flow: Introduction</a:t>
            </a:r>
            <a:endParaRPr lang="en-IN"/>
          </a:p>
        </p:txBody>
      </p:sp>
      <p:sp>
        <p:nvSpPr>
          <p:cNvPr id="3" name="Rectangle 2"/>
          <p:cNvSpPr/>
          <p:nvPr/>
        </p:nvSpPr>
        <p:spPr bwMode="gray">
          <a:xfrm>
            <a:off x="554038" y="1837803"/>
            <a:ext cx="8035924" cy="2000548"/>
          </a:xfrm>
          <a:prstGeom prst="rect">
            <a:avLst/>
          </a:prstGeom>
        </p:spPr>
        <p:txBody>
          <a:bodyPr wrap="square" lIns="0" tIns="0" rIns="0" bIns="0">
            <a:spAutoFit/>
          </a:bodyPr>
          <a:lstStyle/>
          <a:p>
            <a:pPr marL="233363" indent="-233363">
              <a:spcBef>
                <a:spcPts val="1200"/>
              </a:spcBef>
              <a:buClr>
                <a:srgbClr val="009EDB"/>
              </a:buClr>
              <a:buSzPct val="125000"/>
              <a:buFont typeface="Calibri" panose="020F0502020204030204" pitchFamily="34" charset="0"/>
              <a:buChar char="›"/>
            </a:pPr>
            <a:r>
              <a:rPr lang="en-IN" sz="2000" dirty="0"/>
              <a:t>On the following slides we show the </a:t>
            </a:r>
            <a:r>
              <a:rPr lang="en-IN" sz="2000" dirty="0" err="1"/>
              <a:t>MapReduce</a:t>
            </a:r>
            <a:r>
              <a:rPr lang="en-IN" sz="2000" dirty="0"/>
              <a:t> flow</a:t>
            </a:r>
          </a:p>
          <a:p>
            <a:pPr marL="233363" indent="-233363">
              <a:spcBef>
                <a:spcPts val="1200"/>
              </a:spcBef>
              <a:buClr>
                <a:srgbClr val="009EDB"/>
              </a:buClr>
              <a:buSzPct val="125000"/>
              <a:buFont typeface="Calibri" panose="020F0502020204030204" pitchFamily="34" charset="0"/>
              <a:buChar char="›"/>
            </a:pPr>
            <a:r>
              <a:rPr lang="en-IN" sz="2000" dirty="0"/>
              <a:t>Each of the portions (</a:t>
            </a:r>
            <a:r>
              <a:rPr lang="en-IN" sz="2000" dirty="0" err="1"/>
              <a:t>RecordReader</a:t>
            </a:r>
            <a:r>
              <a:rPr lang="en-IN" sz="2000" dirty="0"/>
              <a:t>, Mapper, </a:t>
            </a:r>
            <a:r>
              <a:rPr lang="en-IN" sz="2000" dirty="0" err="1"/>
              <a:t>Partitioner</a:t>
            </a:r>
            <a:r>
              <a:rPr lang="en-IN" sz="2000" dirty="0"/>
              <a:t>, Reducer, etc.) can be created by the developer</a:t>
            </a:r>
          </a:p>
          <a:p>
            <a:pPr marL="233363" indent="-233363">
              <a:spcBef>
                <a:spcPts val="1200"/>
              </a:spcBef>
              <a:buClr>
                <a:srgbClr val="009EDB"/>
              </a:buClr>
              <a:buSzPct val="125000"/>
              <a:buFont typeface="Calibri" panose="020F0502020204030204" pitchFamily="34" charset="0"/>
              <a:buChar char="›"/>
            </a:pPr>
            <a:r>
              <a:rPr lang="en-IN" sz="2000" dirty="0"/>
              <a:t>We will cover each of these as we move through the course</a:t>
            </a:r>
          </a:p>
          <a:p>
            <a:pPr marL="233363" indent="-233363">
              <a:spcBef>
                <a:spcPts val="1200"/>
              </a:spcBef>
              <a:buClr>
                <a:srgbClr val="009EDB"/>
              </a:buClr>
              <a:buSzPct val="125000"/>
              <a:buFont typeface="Calibri" panose="020F0502020204030204" pitchFamily="34" charset="0"/>
              <a:buChar char="›"/>
            </a:pPr>
            <a:r>
              <a:rPr lang="en-IN" sz="2000" dirty="0"/>
              <a:t>You will always create at least a Mapper, Reducer, and driver </a:t>
            </a:r>
            <a:r>
              <a:rPr lang="en-IN" sz="2000" dirty="0" smtClean="0"/>
              <a:t>code</a:t>
            </a:r>
            <a:endParaRPr lang="en-IN" dirty="0"/>
          </a:p>
        </p:txBody>
      </p:sp>
    </p:spTree>
    <p:extLst>
      <p:ext uri="{BB962C8B-B14F-4D97-AF65-F5344CB8AC3E}">
        <p14:creationId xmlns:p14="http://schemas.microsoft.com/office/powerpoint/2010/main" val="2496446039"/>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MapReduce Flow: The Mapper</a:t>
            </a:r>
            <a:endParaRPr lang="en-IN"/>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267526" y="1504457"/>
            <a:ext cx="5854038" cy="43859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82618974"/>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MapReduce Flow: Shuffle and Sort</a:t>
            </a:r>
            <a:endParaRPr lang="en-IN"/>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140728" y="1807537"/>
            <a:ext cx="6274432" cy="36682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17655058"/>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MapReduce Flow: Reducers to Outputs</a:t>
            </a:r>
            <a:endParaRPr lang="en-IN"/>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260010" y="1786270"/>
            <a:ext cx="6432588" cy="3498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19848424"/>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Our MapReduce Program: WordCount</a:t>
            </a:r>
            <a:endParaRPr lang="en-IN"/>
          </a:p>
        </p:txBody>
      </p:sp>
      <p:sp>
        <p:nvSpPr>
          <p:cNvPr id="3" name="Rectangle 2"/>
          <p:cNvSpPr/>
          <p:nvPr/>
        </p:nvSpPr>
        <p:spPr bwMode="gray">
          <a:xfrm>
            <a:off x="554037" y="1837803"/>
            <a:ext cx="8270875" cy="3631763"/>
          </a:xfrm>
          <a:prstGeom prst="rect">
            <a:avLst/>
          </a:prstGeom>
        </p:spPr>
        <p:txBody>
          <a:bodyPr wrap="square" lIns="0" tIns="0" rIns="0" bIns="0">
            <a:spAutoFit/>
          </a:bodyPr>
          <a:lstStyle/>
          <a:p>
            <a:pPr marL="233363" indent="-233363">
              <a:spcBef>
                <a:spcPts val="1200"/>
              </a:spcBef>
              <a:buClr>
                <a:srgbClr val="009EDB"/>
              </a:buClr>
              <a:buSzPct val="125000"/>
              <a:buFont typeface="Calibri" panose="020F0502020204030204" pitchFamily="34" charset="0"/>
              <a:buChar char="›"/>
            </a:pPr>
            <a:r>
              <a:rPr lang="en-IN" sz="2000"/>
              <a:t>To investigate the API, we will dissect the WordCount program you ran in the previous chapter</a:t>
            </a:r>
          </a:p>
          <a:p>
            <a:pPr marL="233363" indent="-233363">
              <a:spcBef>
                <a:spcPts val="1200"/>
              </a:spcBef>
              <a:buClr>
                <a:srgbClr val="009EDB"/>
              </a:buClr>
              <a:buSzPct val="125000"/>
              <a:buFont typeface="Calibri" panose="020F0502020204030204" pitchFamily="34" charset="0"/>
              <a:buChar char="›"/>
            </a:pPr>
            <a:r>
              <a:rPr lang="en-IN" sz="2000"/>
              <a:t>This consists of three portions</a:t>
            </a:r>
          </a:p>
          <a:p>
            <a:pPr marL="457200" indent="-223838">
              <a:spcBef>
                <a:spcPts val="1200"/>
              </a:spcBef>
              <a:buClr>
                <a:srgbClr val="009EDB"/>
              </a:buClr>
              <a:buSzPct val="125000"/>
              <a:buFont typeface="Calibri" panose="020F0502020204030204" pitchFamily="34" charset="0"/>
              <a:buChar char="»"/>
            </a:pPr>
            <a:r>
              <a:rPr lang="en-IN"/>
              <a:t>The driver code</a:t>
            </a:r>
          </a:p>
          <a:p>
            <a:pPr marL="690563" indent="-233363">
              <a:spcBef>
                <a:spcPts val="1200"/>
              </a:spcBef>
              <a:buClr>
                <a:srgbClr val="666666"/>
              </a:buClr>
              <a:buSzPct val="125000"/>
              <a:buFont typeface="Calibri" panose="020F0502020204030204" pitchFamily="34" charset="0"/>
              <a:buChar char="›"/>
            </a:pPr>
            <a:r>
              <a:rPr lang="en-IN" sz="1600" smtClean="0"/>
              <a:t>Code </a:t>
            </a:r>
            <a:r>
              <a:rPr lang="en-IN" sz="1600"/>
              <a:t>that runs on the client to configure and submit the job</a:t>
            </a:r>
          </a:p>
          <a:p>
            <a:pPr marL="457200" indent="-223838">
              <a:spcBef>
                <a:spcPts val="1200"/>
              </a:spcBef>
              <a:buClr>
                <a:srgbClr val="009EDB"/>
              </a:buClr>
              <a:buSzPct val="125000"/>
              <a:buFont typeface="Calibri" panose="020F0502020204030204" pitchFamily="34" charset="0"/>
              <a:buChar char="»"/>
            </a:pPr>
            <a:r>
              <a:rPr lang="en-IN"/>
              <a:t>The Mapper</a:t>
            </a:r>
          </a:p>
          <a:p>
            <a:pPr marL="457200" indent="-223838">
              <a:spcBef>
                <a:spcPts val="1200"/>
              </a:spcBef>
              <a:buClr>
                <a:srgbClr val="009EDB"/>
              </a:buClr>
              <a:buSzPct val="125000"/>
              <a:buFont typeface="Calibri" panose="020F0502020204030204" pitchFamily="34" charset="0"/>
              <a:buChar char="»"/>
            </a:pPr>
            <a:r>
              <a:rPr lang="en-IN"/>
              <a:t>The Reducer</a:t>
            </a:r>
          </a:p>
          <a:p>
            <a:pPr marL="233363" indent="-233363">
              <a:spcBef>
                <a:spcPts val="1200"/>
              </a:spcBef>
              <a:buClr>
                <a:srgbClr val="009EDB"/>
              </a:buClr>
              <a:buSzPct val="125000"/>
              <a:buFont typeface="Calibri" panose="020F0502020204030204" pitchFamily="34" charset="0"/>
              <a:buChar char="›"/>
            </a:pPr>
            <a:r>
              <a:rPr lang="en-IN" sz="2000"/>
              <a:t>Before we look at the code, we need to cover some basic Hadoop API concepts</a:t>
            </a:r>
          </a:p>
        </p:txBody>
      </p:sp>
    </p:spTree>
    <p:extLst>
      <p:ext uri="{BB962C8B-B14F-4D97-AF65-F5344CB8AC3E}">
        <p14:creationId xmlns:p14="http://schemas.microsoft.com/office/powerpoint/2010/main" val="245244152"/>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Getting Data to the Mapper</a:t>
            </a:r>
            <a:endParaRPr lang="en-IN"/>
          </a:p>
        </p:txBody>
      </p:sp>
      <p:sp>
        <p:nvSpPr>
          <p:cNvPr id="3" name="Rectangle 2"/>
          <p:cNvSpPr/>
          <p:nvPr/>
        </p:nvSpPr>
        <p:spPr bwMode="gray">
          <a:xfrm>
            <a:off x="554038" y="1848707"/>
            <a:ext cx="8035924" cy="3200876"/>
          </a:xfrm>
          <a:prstGeom prst="rect">
            <a:avLst/>
          </a:prstGeom>
        </p:spPr>
        <p:txBody>
          <a:bodyPr wrap="square" lIns="0" tIns="0" rIns="0" bIns="0">
            <a:spAutoFit/>
          </a:bodyPr>
          <a:lstStyle/>
          <a:p>
            <a:pPr marL="233363" indent="-233363">
              <a:spcBef>
                <a:spcPts val="1200"/>
              </a:spcBef>
              <a:buClr>
                <a:srgbClr val="009EDB"/>
              </a:buClr>
              <a:buSzPct val="125000"/>
              <a:buFont typeface="Calibri" panose="020F0502020204030204" pitchFamily="34" charset="0"/>
              <a:buChar char="›"/>
            </a:pPr>
            <a:r>
              <a:rPr lang="en-IN" sz="2000"/>
              <a:t>The data passed to the Mapper is specified by an InputFormat</a:t>
            </a:r>
          </a:p>
          <a:p>
            <a:pPr marL="457200" indent="-223838">
              <a:spcBef>
                <a:spcPts val="1200"/>
              </a:spcBef>
              <a:buClr>
                <a:srgbClr val="009EDB"/>
              </a:buClr>
              <a:buSzPct val="125000"/>
              <a:buFont typeface="Calibri" panose="020F0502020204030204" pitchFamily="34" charset="0"/>
              <a:buChar char="»"/>
            </a:pPr>
            <a:r>
              <a:rPr lang="en-IN"/>
              <a:t>Specified in the driver code</a:t>
            </a:r>
          </a:p>
          <a:p>
            <a:pPr marL="457200" indent="-223838">
              <a:spcBef>
                <a:spcPts val="1200"/>
              </a:spcBef>
              <a:buClr>
                <a:srgbClr val="009EDB"/>
              </a:buClr>
              <a:buSzPct val="125000"/>
              <a:buFont typeface="Calibri" panose="020F0502020204030204" pitchFamily="34" charset="0"/>
              <a:buChar char="»"/>
            </a:pPr>
            <a:r>
              <a:rPr lang="en-IN"/>
              <a:t>Defines the location of the input data</a:t>
            </a:r>
          </a:p>
          <a:p>
            <a:pPr marL="690563" indent="-233363">
              <a:spcBef>
                <a:spcPts val="1200"/>
              </a:spcBef>
              <a:buClr>
                <a:srgbClr val="666666"/>
              </a:buClr>
              <a:buSzPct val="125000"/>
              <a:buFont typeface="Calibri" panose="020F0502020204030204" pitchFamily="34" charset="0"/>
              <a:buChar char="›"/>
            </a:pPr>
            <a:r>
              <a:rPr lang="en-IN" sz="1600"/>
              <a:t>A file or directory, for example</a:t>
            </a:r>
          </a:p>
          <a:p>
            <a:pPr marL="457200" indent="-223838">
              <a:spcBef>
                <a:spcPts val="1200"/>
              </a:spcBef>
              <a:buClr>
                <a:srgbClr val="009EDB"/>
              </a:buClr>
              <a:buSzPct val="125000"/>
              <a:buFont typeface="Calibri" panose="020F0502020204030204" pitchFamily="34" charset="0"/>
              <a:buChar char="»"/>
            </a:pPr>
            <a:r>
              <a:rPr lang="en-IN"/>
              <a:t>Determines how to split the input data into input splits</a:t>
            </a:r>
          </a:p>
          <a:p>
            <a:pPr marL="690563" indent="-233363">
              <a:spcBef>
                <a:spcPts val="1200"/>
              </a:spcBef>
              <a:buClr>
                <a:srgbClr val="666666"/>
              </a:buClr>
              <a:buSzPct val="125000"/>
              <a:buFont typeface="Calibri" panose="020F0502020204030204" pitchFamily="34" charset="0"/>
              <a:buChar char="›"/>
            </a:pPr>
            <a:r>
              <a:rPr lang="en-IN" sz="1600"/>
              <a:t>Each Mapper deals with a single input split</a:t>
            </a:r>
          </a:p>
          <a:p>
            <a:pPr marL="457200" indent="-223838">
              <a:spcBef>
                <a:spcPts val="1200"/>
              </a:spcBef>
              <a:buClr>
                <a:srgbClr val="009EDB"/>
              </a:buClr>
              <a:buSzPct val="125000"/>
              <a:buFont typeface="Calibri" panose="020F0502020204030204" pitchFamily="34" charset="0"/>
              <a:buChar char="»"/>
            </a:pPr>
            <a:r>
              <a:rPr lang="en-IN"/>
              <a:t>InputFormat is a factory for RecordReader objects to extract (key, value) records from the input source</a:t>
            </a:r>
          </a:p>
        </p:txBody>
      </p:sp>
    </p:spTree>
    <p:extLst>
      <p:ext uri="{BB962C8B-B14F-4D97-AF65-F5344CB8AC3E}">
        <p14:creationId xmlns:p14="http://schemas.microsoft.com/office/powerpoint/2010/main" val="3733726095"/>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Getting Data to the Mapper (cont’d)</a:t>
            </a:r>
            <a:endParaRPr lang="en-IN"/>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286678" y="1466849"/>
            <a:ext cx="5753220" cy="4349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3033467"/>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Some Standard InputFormats</a:t>
            </a:r>
            <a:endParaRPr lang="en-IN"/>
          </a:p>
        </p:txBody>
      </p:sp>
      <p:sp>
        <p:nvSpPr>
          <p:cNvPr id="3" name="Rectangle 2"/>
          <p:cNvSpPr/>
          <p:nvPr/>
        </p:nvSpPr>
        <p:spPr bwMode="gray">
          <a:xfrm>
            <a:off x="554037" y="1251366"/>
            <a:ext cx="8270875" cy="5078313"/>
          </a:xfrm>
          <a:prstGeom prst="rect">
            <a:avLst/>
          </a:prstGeom>
        </p:spPr>
        <p:txBody>
          <a:bodyPr wrap="square" lIns="0" tIns="0" rIns="0" bIns="0">
            <a:spAutoFit/>
          </a:bodyPr>
          <a:lstStyle/>
          <a:p>
            <a:pPr marL="233363" indent="-233363">
              <a:spcBef>
                <a:spcPts val="1200"/>
              </a:spcBef>
              <a:buClr>
                <a:srgbClr val="009EDB"/>
              </a:buClr>
              <a:buSzPct val="125000"/>
              <a:buFont typeface="Calibri" panose="020F0502020204030204" pitchFamily="34" charset="0"/>
              <a:buChar char="›"/>
            </a:pPr>
            <a:r>
              <a:rPr lang="en-IN" sz="2000"/>
              <a:t>FileInputFormat</a:t>
            </a:r>
          </a:p>
          <a:p>
            <a:pPr marL="457200" indent="-223838">
              <a:spcBef>
                <a:spcPts val="600"/>
              </a:spcBef>
              <a:buClr>
                <a:srgbClr val="009EDB"/>
              </a:buClr>
              <a:buSzPct val="125000"/>
              <a:buFont typeface="Calibri" panose="020F0502020204030204" pitchFamily="34" charset="0"/>
              <a:buChar char="»"/>
            </a:pPr>
            <a:r>
              <a:rPr lang="en-IN"/>
              <a:t>The base class used for all file-based InputFormats</a:t>
            </a:r>
          </a:p>
          <a:p>
            <a:pPr marL="233363" indent="-233363">
              <a:spcBef>
                <a:spcPts val="1200"/>
              </a:spcBef>
              <a:buClr>
                <a:srgbClr val="009EDB"/>
              </a:buClr>
              <a:buSzPct val="125000"/>
              <a:buFont typeface="Calibri" panose="020F0502020204030204" pitchFamily="34" charset="0"/>
              <a:buChar char="›"/>
            </a:pPr>
            <a:r>
              <a:rPr lang="en-IN" sz="2000"/>
              <a:t>TextInputFormat</a:t>
            </a:r>
          </a:p>
          <a:p>
            <a:pPr marL="457200" indent="-223838">
              <a:spcBef>
                <a:spcPts val="600"/>
              </a:spcBef>
              <a:buClr>
                <a:srgbClr val="009EDB"/>
              </a:buClr>
              <a:buSzPct val="125000"/>
              <a:buFont typeface="Calibri" panose="020F0502020204030204" pitchFamily="34" charset="0"/>
              <a:buChar char="»"/>
            </a:pPr>
            <a:r>
              <a:rPr lang="en-IN"/>
              <a:t>The default</a:t>
            </a:r>
          </a:p>
          <a:p>
            <a:pPr marL="457200" indent="-223838">
              <a:spcBef>
                <a:spcPts val="600"/>
              </a:spcBef>
              <a:buClr>
                <a:srgbClr val="009EDB"/>
              </a:buClr>
              <a:buSzPct val="125000"/>
              <a:buFont typeface="Calibri" panose="020F0502020204030204" pitchFamily="34" charset="0"/>
              <a:buChar char="»"/>
            </a:pPr>
            <a:r>
              <a:rPr lang="en-IN"/>
              <a:t>Treats each \n-terminated line of a file as a value</a:t>
            </a:r>
          </a:p>
          <a:p>
            <a:pPr marL="457200" indent="-223838">
              <a:spcBef>
                <a:spcPts val="600"/>
              </a:spcBef>
              <a:buClr>
                <a:srgbClr val="009EDB"/>
              </a:buClr>
              <a:buSzPct val="125000"/>
              <a:buFont typeface="Calibri" panose="020F0502020204030204" pitchFamily="34" charset="0"/>
              <a:buChar char="»"/>
            </a:pPr>
            <a:r>
              <a:rPr lang="en-IN"/>
              <a:t>Key is the byte offset within the file of that line</a:t>
            </a:r>
          </a:p>
          <a:p>
            <a:pPr marL="233363" indent="-233363">
              <a:spcBef>
                <a:spcPts val="1200"/>
              </a:spcBef>
              <a:buClr>
                <a:srgbClr val="009EDB"/>
              </a:buClr>
              <a:buSzPct val="125000"/>
              <a:buFont typeface="Calibri" panose="020F0502020204030204" pitchFamily="34" charset="0"/>
              <a:buChar char="›"/>
            </a:pPr>
            <a:r>
              <a:rPr lang="en-IN" sz="2000"/>
              <a:t>KeyValueTextInputFormat</a:t>
            </a:r>
          </a:p>
          <a:p>
            <a:pPr marL="457200" indent="-223838">
              <a:spcBef>
                <a:spcPts val="600"/>
              </a:spcBef>
              <a:buClr>
                <a:srgbClr val="009EDB"/>
              </a:buClr>
              <a:buSzPct val="125000"/>
              <a:buFont typeface="Calibri" panose="020F0502020204030204" pitchFamily="34" charset="0"/>
              <a:buChar char="»"/>
            </a:pPr>
            <a:r>
              <a:rPr lang="en-IN"/>
              <a:t>Maps \n-terminated lines as ‘key SEP value’</a:t>
            </a:r>
          </a:p>
          <a:p>
            <a:pPr marL="457200" indent="-223838">
              <a:spcBef>
                <a:spcPts val="600"/>
              </a:spcBef>
              <a:buClr>
                <a:srgbClr val="009EDB"/>
              </a:buClr>
              <a:buSzPct val="125000"/>
              <a:buFont typeface="Calibri" panose="020F0502020204030204" pitchFamily="34" charset="0"/>
              <a:buChar char="»"/>
            </a:pPr>
            <a:r>
              <a:rPr lang="en-IN"/>
              <a:t>By default, separator is a tab</a:t>
            </a:r>
          </a:p>
          <a:p>
            <a:pPr marL="233363" indent="-233363">
              <a:spcBef>
                <a:spcPts val="1200"/>
              </a:spcBef>
              <a:buClr>
                <a:srgbClr val="009EDB"/>
              </a:buClr>
              <a:buSzPct val="125000"/>
              <a:buFont typeface="Calibri" panose="020F0502020204030204" pitchFamily="34" charset="0"/>
              <a:buChar char="›"/>
            </a:pPr>
            <a:r>
              <a:rPr lang="en-IN" sz="2000"/>
              <a:t>SequenceFileInputFormat</a:t>
            </a:r>
          </a:p>
          <a:p>
            <a:pPr marL="457200" indent="-223838">
              <a:spcBef>
                <a:spcPts val="600"/>
              </a:spcBef>
              <a:buClr>
                <a:srgbClr val="009EDB"/>
              </a:buClr>
              <a:buSzPct val="125000"/>
              <a:buFont typeface="Calibri" panose="020F0502020204030204" pitchFamily="34" charset="0"/>
              <a:buChar char="»"/>
            </a:pPr>
            <a:r>
              <a:rPr lang="en-IN"/>
              <a:t>Binary file of (key, value) pairs with some additional metadata</a:t>
            </a:r>
          </a:p>
          <a:p>
            <a:pPr marL="233363" indent="-233363">
              <a:spcBef>
                <a:spcPts val="1200"/>
              </a:spcBef>
              <a:buClr>
                <a:srgbClr val="009EDB"/>
              </a:buClr>
              <a:buSzPct val="125000"/>
              <a:buFont typeface="Calibri" panose="020F0502020204030204" pitchFamily="34" charset="0"/>
              <a:buChar char="›"/>
            </a:pPr>
            <a:r>
              <a:rPr lang="en-IN" sz="2000"/>
              <a:t>SequenceFileAsTextInputFormat</a:t>
            </a:r>
          </a:p>
          <a:p>
            <a:pPr marL="457200" indent="-223838">
              <a:spcBef>
                <a:spcPts val="600"/>
              </a:spcBef>
              <a:buClr>
                <a:srgbClr val="009EDB"/>
              </a:buClr>
              <a:buSzPct val="125000"/>
              <a:buFont typeface="Calibri" panose="020F0502020204030204" pitchFamily="34" charset="0"/>
              <a:buChar char="»"/>
            </a:pPr>
            <a:r>
              <a:rPr lang="en-IN"/>
              <a:t>Similar, but maps (key.toString(), value.toString())</a:t>
            </a:r>
          </a:p>
        </p:txBody>
      </p:sp>
    </p:spTree>
    <p:extLst>
      <p:ext uri="{BB962C8B-B14F-4D97-AF65-F5344CB8AC3E}">
        <p14:creationId xmlns:p14="http://schemas.microsoft.com/office/powerpoint/2010/main" val="14843767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dirty="0" smtClean="0"/>
              <a:t>Traditional vs Distributed</a:t>
            </a:r>
            <a:endParaRPr lang="en-IN" dirty="0"/>
          </a:p>
        </p:txBody>
      </p:sp>
      <p:sp>
        <p:nvSpPr>
          <p:cNvPr id="3" name="Content Placeholder 2"/>
          <p:cNvSpPr>
            <a:spLocks noGrp="1"/>
          </p:cNvSpPr>
          <p:nvPr>
            <p:ph type="body" sz="quarter" idx="10"/>
          </p:nvPr>
        </p:nvSpPr>
        <p:spPr bwMode="gray">
          <a:xfrm>
            <a:off x="566060" y="1981200"/>
            <a:ext cx="8273140" cy="2734082"/>
          </a:xfrm>
        </p:spPr>
        <p:txBody>
          <a:bodyPr wrap="square" lIns="0" tIns="0" rIns="0" bIns="0">
            <a:spAutoFit/>
          </a:bodyPr>
          <a:lstStyle/>
          <a:p>
            <a:pPr marL="233363" indent="-233363">
              <a:spcBef>
                <a:spcPts val="800"/>
              </a:spcBef>
              <a:buFont typeface="Arial" panose="020B0604020202020204" pitchFamily="34" charset="0"/>
              <a:buChar char="›"/>
            </a:pPr>
            <a:r>
              <a:rPr lang="en-IN" sz="2000" dirty="0">
                <a:solidFill>
                  <a:schemeClr val="tx1"/>
                </a:solidFill>
              </a:rPr>
              <a:t>Traditionally, computation has been processor-bound</a:t>
            </a:r>
          </a:p>
          <a:p>
            <a:pPr marL="457200" lvl="1" indent="-223838">
              <a:spcBef>
                <a:spcPts val="600"/>
              </a:spcBef>
            </a:pPr>
            <a:r>
              <a:rPr lang="en-IN" sz="1800" dirty="0"/>
              <a:t>Relatively small amounts of data</a:t>
            </a:r>
          </a:p>
          <a:p>
            <a:pPr marL="457200" lvl="1" indent="-223838">
              <a:spcBef>
                <a:spcPts val="600"/>
              </a:spcBef>
            </a:pPr>
            <a:r>
              <a:rPr lang="en-IN" sz="1800" dirty="0"/>
              <a:t>Significant amount of complex processing performed on that data</a:t>
            </a:r>
          </a:p>
          <a:p>
            <a:pPr marL="457200" lvl="1" indent="-223838">
              <a:spcBef>
                <a:spcPts val="600"/>
              </a:spcBef>
            </a:pPr>
            <a:r>
              <a:rPr lang="en-IN" sz="1800" dirty="0"/>
              <a:t>Earlier processing power was bottleneck</a:t>
            </a:r>
          </a:p>
          <a:p>
            <a:pPr marL="233363" indent="-233363">
              <a:spcBef>
                <a:spcPts val="800"/>
              </a:spcBef>
              <a:buFont typeface="Arial" panose="020B0604020202020204" pitchFamily="34" charset="0"/>
              <a:buChar char="›"/>
            </a:pPr>
            <a:r>
              <a:rPr lang="en-IN" sz="2000" dirty="0">
                <a:solidFill>
                  <a:schemeClr val="tx1"/>
                </a:solidFill>
              </a:rPr>
              <a:t>Data moves from Database to the processing engine</a:t>
            </a:r>
          </a:p>
          <a:p>
            <a:pPr marL="457200" lvl="1" indent="-223838">
              <a:spcBef>
                <a:spcPts val="600"/>
              </a:spcBef>
            </a:pPr>
            <a:r>
              <a:rPr lang="en-IN" sz="1800" dirty="0"/>
              <a:t>Large amounts of data</a:t>
            </a:r>
          </a:p>
          <a:p>
            <a:pPr marL="457200" lvl="1" indent="-223838">
              <a:spcBef>
                <a:spcPts val="600"/>
              </a:spcBef>
            </a:pPr>
            <a:r>
              <a:rPr lang="en-IN" sz="1800" dirty="0"/>
              <a:t>Simple processing</a:t>
            </a:r>
          </a:p>
        </p:txBody>
      </p:sp>
    </p:spTree>
    <p:extLst>
      <p:ext uri="{BB962C8B-B14F-4D97-AF65-F5344CB8AC3E}">
        <p14:creationId xmlns:p14="http://schemas.microsoft.com/office/powerpoint/2010/main" val="1178207241"/>
      </p:ext>
    </p:extLst>
  </p:cSld>
  <p:clrMapOvr>
    <a:masterClrMapping/>
  </p:clrMapOvr>
  <p:transition>
    <p:fade/>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Keys and Values are Objects</a:t>
            </a:r>
            <a:endParaRPr lang="en-IN"/>
          </a:p>
        </p:txBody>
      </p:sp>
      <p:sp>
        <p:nvSpPr>
          <p:cNvPr id="3" name="Rectangle 2"/>
          <p:cNvSpPr/>
          <p:nvPr/>
        </p:nvSpPr>
        <p:spPr bwMode="gray">
          <a:xfrm>
            <a:off x="554038" y="2467043"/>
            <a:ext cx="8035924" cy="1384995"/>
          </a:xfrm>
          <a:prstGeom prst="rect">
            <a:avLst/>
          </a:prstGeom>
        </p:spPr>
        <p:txBody>
          <a:bodyPr wrap="square" lIns="0" tIns="0" rIns="0" bIns="0">
            <a:spAutoFit/>
          </a:bodyPr>
          <a:lstStyle/>
          <a:p>
            <a:pPr marL="233363" indent="-233363">
              <a:spcBef>
                <a:spcPts val="1800"/>
              </a:spcBef>
              <a:buClr>
                <a:srgbClr val="009EDB"/>
              </a:buClr>
              <a:buSzPct val="125000"/>
              <a:buFont typeface="Calibri" panose="020F0502020204030204" pitchFamily="34" charset="0"/>
              <a:buChar char="›"/>
            </a:pPr>
            <a:r>
              <a:rPr lang="en-IN" sz="2000"/>
              <a:t>Keys and values in Hadoop are Objects</a:t>
            </a:r>
          </a:p>
          <a:p>
            <a:pPr marL="233363" indent="-233363">
              <a:spcBef>
                <a:spcPts val="1800"/>
              </a:spcBef>
              <a:buClr>
                <a:srgbClr val="009EDB"/>
              </a:buClr>
              <a:buSzPct val="125000"/>
              <a:buFont typeface="Calibri" panose="020F0502020204030204" pitchFamily="34" charset="0"/>
              <a:buChar char="›"/>
            </a:pPr>
            <a:r>
              <a:rPr lang="en-IN" sz="2000"/>
              <a:t>Values are objects which implement Writable</a:t>
            </a:r>
          </a:p>
          <a:p>
            <a:pPr marL="233363" indent="-233363">
              <a:spcBef>
                <a:spcPts val="1800"/>
              </a:spcBef>
              <a:buClr>
                <a:srgbClr val="009EDB"/>
              </a:buClr>
              <a:buSzPct val="125000"/>
              <a:buFont typeface="Calibri" panose="020F0502020204030204" pitchFamily="34" charset="0"/>
              <a:buChar char="›"/>
            </a:pPr>
            <a:r>
              <a:rPr lang="en-IN" sz="2000"/>
              <a:t>Keys are objects which implement WritableComparable</a:t>
            </a:r>
          </a:p>
        </p:txBody>
      </p:sp>
      <p:cxnSp>
        <p:nvCxnSpPr>
          <p:cNvPr id="6" name="Straight Connector 5"/>
          <p:cNvCxnSpPr/>
          <p:nvPr/>
        </p:nvCxnSpPr>
        <p:spPr bwMode="gray">
          <a:xfrm>
            <a:off x="563563" y="2923956"/>
            <a:ext cx="6709107" cy="0"/>
          </a:xfrm>
          <a:prstGeom prst="line">
            <a:avLst/>
          </a:prstGeom>
          <a:ln w="9525" cap="rnd" cmpd="sng">
            <a:solidFill>
              <a:schemeClr val="bg1">
                <a:lumMod val="75000"/>
              </a:schemeClr>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bwMode="gray">
          <a:xfrm>
            <a:off x="563563" y="3455585"/>
            <a:ext cx="6709107" cy="0"/>
          </a:xfrm>
          <a:prstGeom prst="line">
            <a:avLst/>
          </a:prstGeom>
          <a:ln w="9525" cap="rnd" cmpd="sng">
            <a:solidFill>
              <a:schemeClr val="bg1">
                <a:lumMod val="75000"/>
              </a:schemeClr>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63223367"/>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What is Writable?</a:t>
            </a:r>
            <a:endParaRPr lang="en-IN"/>
          </a:p>
        </p:txBody>
      </p:sp>
      <p:sp>
        <p:nvSpPr>
          <p:cNvPr id="3" name="Rectangle 2"/>
          <p:cNvSpPr/>
          <p:nvPr/>
        </p:nvSpPr>
        <p:spPr bwMode="gray">
          <a:xfrm>
            <a:off x="554038" y="1837262"/>
            <a:ext cx="8035924" cy="3447098"/>
          </a:xfrm>
          <a:prstGeom prst="rect">
            <a:avLst/>
          </a:prstGeom>
        </p:spPr>
        <p:txBody>
          <a:bodyPr wrap="square" lIns="0" tIns="0" rIns="0" bIns="0">
            <a:spAutoFit/>
          </a:bodyPr>
          <a:lstStyle/>
          <a:p>
            <a:pPr marL="233363" indent="-233363">
              <a:spcBef>
                <a:spcPts val="1200"/>
              </a:spcBef>
              <a:buClr>
                <a:srgbClr val="009EDB"/>
              </a:buClr>
              <a:buSzPct val="125000"/>
              <a:buFont typeface="Calibri" panose="020F0502020204030204" pitchFamily="34" charset="0"/>
              <a:buChar char="›"/>
            </a:pPr>
            <a:r>
              <a:rPr lang="en-IN" sz="2000"/>
              <a:t>Hadoop defines its own ‘box classes’ for strings, integers and so on</a:t>
            </a:r>
          </a:p>
          <a:p>
            <a:pPr marL="457200" indent="-223838">
              <a:spcBef>
                <a:spcPts val="600"/>
              </a:spcBef>
              <a:buClr>
                <a:srgbClr val="009EDB"/>
              </a:buClr>
              <a:buSzPct val="125000"/>
              <a:buFont typeface="Calibri" panose="020F0502020204030204" pitchFamily="34" charset="0"/>
              <a:buChar char="»"/>
            </a:pPr>
            <a:r>
              <a:rPr lang="en-IN"/>
              <a:t>IntWritable for ints</a:t>
            </a:r>
          </a:p>
          <a:p>
            <a:pPr marL="457200" indent="-223838">
              <a:spcBef>
                <a:spcPts val="600"/>
              </a:spcBef>
              <a:buClr>
                <a:srgbClr val="009EDB"/>
              </a:buClr>
              <a:buSzPct val="125000"/>
              <a:buFont typeface="Calibri" panose="020F0502020204030204" pitchFamily="34" charset="0"/>
              <a:buChar char="»"/>
            </a:pPr>
            <a:r>
              <a:rPr lang="en-IN"/>
              <a:t>LongWritable for longs</a:t>
            </a:r>
          </a:p>
          <a:p>
            <a:pPr marL="457200" indent="-223838">
              <a:spcBef>
                <a:spcPts val="600"/>
              </a:spcBef>
              <a:buClr>
                <a:srgbClr val="009EDB"/>
              </a:buClr>
              <a:buSzPct val="125000"/>
              <a:buFont typeface="Calibri" panose="020F0502020204030204" pitchFamily="34" charset="0"/>
              <a:buChar char="»"/>
            </a:pPr>
            <a:r>
              <a:rPr lang="en-IN"/>
              <a:t>FloatWritable for floats</a:t>
            </a:r>
          </a:p>
          <a:p>
            <a:pPr marL="457200" indent="-223838">
              <a:spcBef>
                <a:spcPts val="600"/>
              </a:spcBef>
              <a:buClr>
                <a:srgbClr val="009EDB"/>
              </a:buClr>
              <a:buSzPct val="125000"/>
              <a:buFont typeface="Calibri" panose="020F0502020204030204" pitchFamily="34" charset="0"/>
              <a:buChar char="»"/>
            </a:pPr>
            <a:r>
              <a:rPr lang="en-IN"/>
              <a:t>DoubleWritable for doubles</a:t>
            </a:r>
          </a:p>
          <a:p>
            <a:pPr marL="457200" indent="-223838">
              <a:spcBef>
                <a:spcPts val="600"/>
              </a:spcBef>
              <a:buClr>
                <a:srgbClr val="009EDB"/>
              </a:buClr>
              <a:buSzPct val="125000"/>
              <a:buFont typeface="Calibri" panose="020F0502020204030204" pitchFamily="34" charset="0"/>
              <a:buChar char="»"/>
            </a:pPr>
            <a:r>
              <a:rPr lang="en-IN"/>
              <a:t>Text for strings</a:t>
            </a:r>
          </a:p>
          <a:p>
            <a:pPr marL="457200" indent="-223838">
              <a:spcBef>
                <a:spcPts val="600"/>
              </a:spcBef>
              <a:buClr>
                <a:srgbClr val="009EDB"/>
              </a:buClr>
              <a:buSzPct val="125000"/>
              <a:buFont typeface="Calibri" panose="020F0502020204030204" pitchFamily="34" charset="0"/>
              <a:buChar char="»"/>
            </a:pPr>
            <a:r>
              <a:rPr lang="en-IN"/>
              <a:t>Etc.</a:t>
            </a:r>
          </a:p>
          <a:p>
            <a:pPr marL="233363" indent="-233363">
              <a:spcBef>
                <a:spcPts val="1200"/>
              </a:spcBef>
              <a:buClr>
                <a:srgbClr val="009EDB"/>
              </a:buClr>
              <a:buSzPct val="125000"/>
              <a:buFont typeface="Calibri" panose="020F0502020204030204" pitchFamily="34" charset="0"/>
              <a:buChar char="›"/>
            </a:pPr>
            <a:r>
              <a:rPr lang="en-IN" sz="2000"/>
              <a:t>The Writable interface makes serialization quick and easy for Hadoop</a:t>
            </a:r>
          </a:p>
          <a:p>
            <a:pPr marL="233363" indent="-233363">
              <a:spcBef>
                <a:spcPts val="1200"/>
              </a:spcBef>
              <a:buClr>
                <a:srgbClr val="009EDB"/>
              </a:buClr>
              <a:buSzPct val="125000"/>
              <a:buFont typeface="Calibri" panose="020F0502020204030204" pitchFamily="34" charset="0"/>
              <a:buChar char="›"/>
            </a:pPr>
            <a:r>
              <a:rPr lang="en-IN" sz="2000"/>
              <a:t>Any value’s type must implement the Writable interface</a:t>
            </a:r>
          </a:p>
        </p:txBody>
      </p:sp>
    </p:spTree>
    <p:extLst>
      <p:ext uri="{BB962C8B-B14F-4D97-AF65-F5344CB8AC3E}">
        <p14:creationId xmlns:p14="http://schemas.microsoft.com/office/powerpoint/2010/main" val="3390936387"/>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What is WritableComparable?</a:t>
            </a:r>
            <a:endParaRPr lang="en-IN"/>
          </a:p>
        </p:txBody>
      </p:sp>
      <p:sp>
        <p:nvSpPr>
          <p:cNvPr id="3" name="Rectangle 2"/>
          <p:cNvSpPr/>
          <p:nvPr/>
        </p:nvSpPr>
        <p:spPr bwMode="gray">
          <a:xfrm>
            <a:off x="554038" y="1836722"/>
            <a:ext cx="8035924" cy="2769989"/>
          </a:xfrm>
          <a:prstGeom prst="rect">
            <a:avLst/>
          </a:prstGeom>
        </p:spPr>
        <p:txBody>
          <a:bodyPr wrap="square" lIns="0" tIns="0" rIns="0" bIns="0">
            <a:spAutoFit/>
          </a:bodyPr>
          <a:lstStyle/>
          <a:p>
            <a:pPr marL="233363" indent="-233363">
              <a:spcBef>
                <a:spcPts val="1800"/>
              </a:spcBef>
              <a:buClr>
                <a:srgbClr val="009EDB"/>
              </a:buClr>
              <a:buSzPct val="125000"/>
              <a:buFont typeface="Calibri" panose="020F0502020204030204" pitchFamily="34" charset="0"/>
              <a:buChar char="›"/>
            </a:pPr>
            <a:r>
              <a:rPr lang="en-IN" sz="2000" dirty="0"/>
              <a:t>A </a:t>
            </a:r>
            <a:r>
              <a:rPr lang="en-IN" sz="2000" dirty="0" err="1"/>
              <a:t>WritableComparable</a:t>
            </a:r>
            <a:r>
              <a:rPr lang="en-IN" sz="2000" dirty="0"/>
              <a:t> is a Writable which is also Comparable</a:t>
            </a:r>
          </a:p>
          <a:p>
            <a:pPr marL="457200" indent="-223838">
              <a:spcBef>
                <a:spcPts val="600"/>
              </a:spcBef>
              <a:buClr>
                <a:srgbClr val="009EDB"/>
              </a:buClr>
              <a:buSzPct val="125000"/>
              <a:buFont typeface="Calibri" panose="020F0502020204030204" pitchFamily="34" charset="0"/>
              <a:buChar char="»"/>
            </a:pPr>
            <a:r>
              <a:rPr lang="en-IN" dirty="0"/>
              <a:t>Two </a:t>
            </a:r>
            <a:r>
              <a:rPr lang="en-IN" dirty="0" err="1"/>
              <a:t>WritableComparables</a:t>
            </a:r>
            <a:r>
              <a:rPr lang="en-IN" dirty="0"/>
              <a:t> can be compared against each other to determine their ‘order’</a:t>
            </a:r>
          </a:p>
          <a:p>
            <a:pPr marL="457200" indent="-223838">
              <a:spcBef>
                <a:spcPts val="600"/>
              </a:spcBef>
              <a:buClr>
                <a:srgbClr val="009EDB"/>
              </a:buClr>
              <a:buSzPct val="125000"/>
              <a:buFont typeface="Calibri" panose="020F0502020204030204" pitchFamily="34" charset="0"/>
              <a:buChar char="»"/>
            </a:pPr>
            <a:r>
              <a:rPr lang="en-IN" dirty="0"/>
              <a:t>Keys must be </a:t>
            </a:r>
            <a:r>
              <a:rPr lang="en-IN" dirty="0" err="1"/>
              <a:t>WritableComparables</a:t>
            </a:r>
            <a:r>
              <a:rPr lang="en-IN" dirty="0"/>
              <a:t> because they are passed to the Reducer in sorted </a:t>
            </a:r>
            <a:r>
              <a:rPr lang="en-IN" dirty="0" smtClean="0"/>
              <a:t>order</a:t>
            </a:r>
          </a:p>
          <a:p>
            <a:pPr marL="233363" indent="-233363">
              <a:spcBef>
                <a:spcPts val="1800"/>
              </a:spcBef>
              <a:buClr>
                <a:srgbClr val="009EDB"/>
              </a:buClr>
              <a:buSzPct val="125000"/>
              <a:buFont typeface="Calibri" panose="020F0502020204030204" pitchFamily="34" charset="0"/>
              <a:buChar char="›"/>
            </a:pPr>
            <a:r>
              <a:rPr lang="en-IN" sz="2000" dirty="0" smtClean="0"/>
              <a:t>Note that despite their names, all Hadoop box classes implement both Writable and </a:t>
            </a:r>
            <a:r>
              <a:rPr lang="en-IN" sz="2000" dirty="0" err="1" smtClean="0"/>
              <a:t>WritableComparable</a:t>
            </a:r>
            <a:endParaRPr lang="en-IN" sz="2000" dirty="0" smtClean="0"/>
          </a:p>
          <a:p>
            <a:pPr marL="457200" indent="-223838">
              <a:spcBef>
                <a:spcPts val="600"/>
              </a:spcBef>
              <a:buClr>
                <a:srgbClr val="009EDB"/>
              </a:buClr>
              <a:buSzPct val="125000"/>
              <a:buFont typeface="Calibri" panose="020F0502020204030204" pitchFamily="34" charset="0"/>
              <a:buChar char="»"/>
            </a:pPr>
            <a:r>
              <a:rPr lang="en-IN" dirty="0" smtClean="0"/>
              <a:t>For </a:t>
            </a:r>
            <a:r>
              <a:rPr lang="en-IN" dirty="0"/>
              <a:t>example, </a:t>
            </a:r>
            <a:r>
              <a:rPr lang="en-IN" dirty="0" err="1"/>
              <a:t>IntWritable</a:t>
            </a:r>
            <a:r>
              <a:rPr lang="en-IN" dirty="0"/>
              <a:t> is actually </a:t>
            </a:r>
            <a:r>
              <a:rPr lang="en-IN" dirty="0" smtClean="0"/>
              <a:t>a </a:t>
            </a:r>
            <a:r>
              <a:rPr lang="en-IN" dirty="0" err="1" smtClean="0"/>
              <a:t>WritableComparable</a:t>
            </a:r>
            <a:endParaRPr lang="en-IN" dirty="0"/>
          </a:p>
        </p:txBody>
      </p:sp>
    </p:spTree>
    <p:extLst>
      <p:ext uri="{BB962C8B-B14F-4D97-AF65-F5344CB8AC3E}">
        <p14:creationId xmlns:p14="http://schemas.microsoft.com/office/powerpoint/2010/main" val="414011360"/>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Driver Code: Introduction</a:t>
            </a:r>
            <a:endParaRPr lang="en-IN"/>
          </a:p>
        </p:txBody>
      </p:sp>
      <p:sp>
        <p:nvSpPr>
          <p:cNvPr id="3" name="Rectangle 2"/>
          <p:cNvSpPr/>
          <p:nvPr/>
        </p:nvSpPr>
        <p:spPr bwMode="gray">
          <a:xfrm>
            <a:off x="554038" y="2286851"/>
            <a:ext cx="6303962" cy="846386"/>
          </a:xfrm>
          <a:prstGeom prst="rect">
            <a:avLst/>
          </a:prstGeom>
        </p:spPr>
        <p:txBody>
          <a:bodyPr wrap="square" lIns="0" tIns="0" rIns="0" bIns="0">
            <a:spAutoFit/>
          </a:bodyPr>
          <a:lstStyle/>
          <a:p>
            <a:pPr marL="233363" indent="-233363">
              <a:spcBef>
                <a:spcPts val="1800"/>
              </a:spcBef>
              <a:buClr>
                <a:srgbClr val="009EDB"/>
              </a:buClr>
              <a:buSzPct val="125000"/>
              <a:buFont typeface="Calibri" panose="020F0502020204030204" pitchFamily="34" charset="0"/>
              <a:buChar char="›"/>
            </a:pPr>
            <a:r>
              <a:rPr lang="en-IN" sz="2000"/>
              <a:t>The driver code runs on the client machine</a:t>
            </a:r>
          </a:p>
          <a:p>
            <a:pPr marL="233363" indent="-233363">
              <a:spcBef>
                <a:spcPts val="1800"/>
              </a:spcBef>
              <a:buClr>
                <a:srgbClr val="009EDB"/>
              </a:buClr>
              <a:buSzPct val="125000"/>
              <a:buFont typeface="Calibri" panose="020F0502020204030204" pitchFamily="34" charset="0"/>
              <a:buChar char="›"/>
            </a:pPr>
            <a:r>
              <a:rPr lang="en-IN" sz="2000"/>
              <a:t>It configures the job, then submits it to the cluster</a:t>
            </a:r>
          </a:p>
        </p:txBody>
      </p:sp>
      <p:cxnSp>
        <p:nvCxnSpPr>
          <p:cNvPr id="5" name="Straight Connector 4"/>
          <p:cNvCxnSpPr/>
          <p:nvPr/>
        </p:nvCxnSpPr>
        <p:spPr bwMode="gray">
          <a:xfrm>
            <a:off x="563563" y="2764461"/>
            <a:ext cx="6709107" cy="0"/>
          </a:xfrm>
          <a:prstGeom prst="line">
            <a:avLst/>
          </a:prstGeom>
          <a:ln w="9525" cap="rnd" cmpd="sng">
            <a:solidFill>
              <a:schemeClr val="bg1">
                <a:lumMod val="75000"/>
              </a:schemeClr>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45963909"/>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Driver: Complete Code</a:t>
            </a:r>
            <a:endParaRPr lang="en-IN"/>
          </a:p>
        </p:txBody>
      </p:sp>
      <p:sp>
        <p:nvSpPr>
          <p:cNvPr id="3" name="Rounded Rectangle 2"/>
          <p:cNvSpPr/>
          <p:nvPr/>
        </p:nvSpPr>
        <p:spPr bwMode="gray">
          <a:xfrm>
            <a:off x="554038" y="1275906"/>
            <a:ext cx="8154027" cy="4933504"/>
          </a:xfrm>
          <a:prstGeom prst="roundRect">
            <a:avLst>
              <a:gd name="adj" fmla="val 3736"/>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smtClean="0">
                <a:solidFill>
                  <a:schemeClr val="tx1"/>
                </a:solidFill>
              </a:rPr>
              <a:t>import org.apache.hadoop.fs.Path;</a:t>
            </a:r>
          </a:p>
          <a:p>
            <a:pPr marL="233363">
              <a:spcBef>
                <a:spcPts val="200"/>
              </a:spcBef>
            </a:pPr>
            <a:r>
              <a:rPr lang="en-IN" sz="1100" smtClean="0">
                <a:solidFill>
                  <a:schemeClr val="tx1"/>
                </a:solidFill>
              </a:rPr>
              <a:t>import org.apache.hadoop.io.IntWritable;</a:t>
            </a:r>
          </a:p>
          <a:p>
            <a:pPr marL="233363">
              <a:spcBef>
                <a:spcPts val="200"/>
              </a:spcBef>
            </a:pPr>
            <a:r>
              <a:rPr lang="en-IN" sz="1100" smtClean="0">
                <a:solidFill>
                  <a:schemeClr val="tx1"/>
                </a:solidFill>
              </a:rPr>
              <a:t>import org.apache.hadoop.io.Text;</a:t>
            </a:r>
          </a:p>
          <a:p>
            <a:pPr marL="233363">
              <a:spcBef>
                <a:spcPts val="200"/>
              </a:spcBef>
            </a:pPr>
            <a:r>
              <a:rPr lang="en-IN" sz="1100" smtClean="0">
                <a:solidFill>
                  <a:schemeClr val="tx1"/>
                </a:solidFill>
              </a:rPr>
              <a:t>import org.apache.hadoop.mapred.FileInputFormat;</a:t>
            </a:r>
          </a:p>
          <a:p>
            <a:pPr marL="233363">
              <a:spcBef>
                <a:spcPts val="200"/>
              </a:spcBef>
            </a:pPr>
            <a:r>
              <a:rPr lang="en-IN" sz="1100" smtClean="0">
                <a:solidFill>
                  <a:schemeClr val="tx1"/>
                </a:solidFill>
              </a:rPr>
              <a:t>import org.apache.hadoop.mapred.FileOutputFormat;</a:t>
            </a:r>
          </a:p>
          <a:p>
            <a:pPr marL="233363">
              <a:spcBef>
                <a:spcPts val="200"/>
              </a:spcBef>
            </a:pPr>
            <a:r>
              <a:rPr lang="en-IN" sz="1100" smtClean="0">
                <a:solidFill>
                  <a:schemeClr val="tx1"/>
                </a:solidFill>
              </a:rPr>
              <a:t>import org.apache.hadoop.mapred.JobClient;</a:t>
            </a:r>
          </a:p>
          <a:p>
            <a:pPr marL="233363">
              <a:spcBef>
                <a:spcPts val="200"/>
              </a:spcBef>
            </a:pPr>
            <a:r>
              <a:rPr lang="en-IN" sz="1100" smtClean="0">
                <a:solidFill>
                  <a:schemeClr val="tx1"/>
                </a:solidFill>
              </a:rPr>
              <a:t>import org.apache.hadoop.mapred.JobConf;</a:t>
            </a:r>
          </a:p>
          <a:p>
            <a:pPr marL="233363">
              <a:spcBef>
                <a:spcPts val="200"/>
              </a:spcBef>
            </a:pPr>
            <a:r>
              <a:rPr lang="en-IN" sz="1100" smtClean="0">
                <a:solidFill>
                  <a:schemeClr val="tx1"/>
                </a:solidFill>
              </a:rPr>
              <a:t>import org.apache.hadoop.conf.Configured;</a:t>
            </a:r>
          </a:p>
          <a:p>
            <a:pPr marL="233363">
              <a:spcBef>
                <a:spcPts val="200"/>
              </a:spcBef>
            </a:pPr>
            <a:r>
              <a:rPr lang="en-IN" sz="1100" smtClean="0">
                <a:solidFill>
                  <a:schemeClr val="tx1"/>
                </a:solidFill>
              </a:rPr>
              <a:t>import org.apache.hadoop.util.Tool;</a:t>
            </a:r>
          </a:p>
          <a:p>
            <a:pPr marL="233363">
              <a:spcBef>
                <a:spcPts val="200"/>
              </a:spcBef>
            </a:pPr>
            <a:r>
              <a:rPr lang="en-IN" sz="1100" smtClean="0">
                <a:solidFill>
                  <a:schemeClr val="tx1"/>
                </a:solidFill>
              </a:rPr>
              <a:t>import org.apache.hadoop.util.ToolRunner;</a:t>
            </a:r>
          </a:p>
          <a:p>
            <a:pPr marL="233363">
              <a:spcBef>
                <a:spcPts val="200"/>
              </a:spcBef>
            </a:pPr>
            <a:r>
              <a:rPr lang="en-IN" sz="1100" smtClean="0">
                <a:solidFill>
                  <a:schemeClr val="tx1"/>
                </a:solidFill>
              </a:rPr>
              <a:t>public class WordCount extends Configured implements Tool {</a:t>
            </a:r>
          </a:p>
          <a:p>
            <a:pPr marL="233363">
              <a:spcBef>
                <a:spcPts val="200"/>
              </a:spcBef>
            </a:pPr>
            <a:r>
              <a:rPr lang="en-IN" sz="1100" smtClean="0">
                <a:solidFill>
                  <a:schemeClr val="tx1"/>
                </a:solidFill>
              </a:rPr>
              <a:t>public int run(String[] args) throws Exception {</a:t>
            </a:r>
          </a:p>
          <a:p>
            <a:pPr marL="233363">
              <a:spcBef>
                <a:spcPts val="200"/>
              </a:spcBef>
            </a:pPr>
            <a:r>
              <a:rPr lang="en-IN" sz="1100" smtClean="0">
                <a:solidFill>
                  <a:schemeClr val="tx1"/>
                </a:solidFill>
              </a:rPr>
              <a:t>if (args.length != 2) {</a:t>
            </a:r>
          </a:p>
          <a:p>
            <a:pPr marL="233363">
              <a:spcBef>
                <a:spcPts val="200"/>
              </a:spcBef>
            </a:pPr>
            <a:r>
              <a:rPr lang="en-IN" sz="1100" smtClean="0">
                <a:solidFill>
                  <a:schemeClr val="tx1"/>
                </a:solidFill>
              </a:rPr>
              <a:t>System.out.printf(</a:t>
            </a:r>
          </a:p>
          <a:p>
            <a:pPr marL="233363">
              <a:spcBef>
                <a:spcPts val="200"/>
              </a:spcBef>
            </a:pPr>
            <a:r>
              <a:rPr lang="en-IN" sz="1100" smtClean="0">
                <a:solidFill>
                  <a:schemeClr val="tx1"/>
                </a:solidFill>
              </a:rPr>
              <a:t>"Usage: %s [generic options] &lt;input dir&gt; &lt;output dir&gt;\n",</a:t>
            </a:r>
          </a:p>
          <a:p>
            <a:pPr marL="233363">
              <a:spcBef>
                <a:spcPts val="200"/>
              </a:spcBef>
            </a:pPr>
            <a:r>
              <a:rPr lang="en-IN" sz="1100" smtClean="0">
                <a:solidFill>
                  <a:schemeClr val="tx1"/>
                </a:solidFill>
              </a:rPr>
              <a:t>getClass().getSimpleName());</a:t>
            </a:r>
          </a:p>
          <a:p>
            <a:pPr marL="233363">
              <a:spcBef>
                <a:spcPts val="200"/>
              </a:spcBef>
            </a:pPr>
            <a:r>
              <a:rPr lang="en-IN" sz="1100" smtClean="0">
                <a:solidFill>
                  <a:schemeClr val="tx1"/>
                </a:solidFill>
              </a:rPr>
              <a:t>ToolRunner.printGenericCommandUsage(System.out);</a:t>
            </a:r>
          </a:p>
          <a:p>
            <a:pPr marL="233363">
              <a:spcBef>
                <a:spcPts val="200"/>
              </a:spcBef>
            </a:pPr>
            <a:r>
              <a:rPr lang="en-IN" sz="1100" smtClean="0">
                <a:solidFill>
                  <a:schemeClr val="tx1"/>
                </a:solidFill>
              </a:rPr>
              <a:t>return -1;</a:t>
            </a:r>
          </a:p>
          <a:p>
            <a:pPr marL="233363">
              <a:spcBef>
                <a:spcPts val="200"/>
              </a:spcBef>
            </a:pPr>
            <a:r>
              <a:rPr lang="en-IN" sz="1100" smtClean="0">
                <a:solidFill>
                  <a:schemeClr val="tx1"/>
                </a:solidFill>
              </a:rPr>
              <a:t>}</a:t>
            </a:r>
          </a:p>
          <a:p>
            <a:pPr marL="233363">
              <a:spcBef>
                <a:spcPts val="200"/>
              </a:spcBef>
            </a:pPr>
            <a:r>
              <a:rPr lang="en-IN" sz="1100" smtClean="0">
                <a:solidFill>
                  <a:schemeClr val="tx1"/>
                </a:solidFill>
              </a:rPr>
              <a:t>JobConf conf = new JobConf(getConf(), WordCount.class);</a:t>
            </a:r>
          </a:p>
          <a:p>
            <a:pPr marL="233363">
              <a:spcBef>
                <a:spcPts val="200"/>
              </a:spcBef>
            </a:pPr>
            <a:r>
              <a:rPr lang="en-IN" sz="1100" smtClean="0">
                <a:solidFill>
                  <a:schemeClr val="tx1"/>
                </a:solidFill>
              </a:rPr>
              <a:t>conf.setJobName(this.getClass().getName());</a:t>
            </a:r>
          </a:p>
          <a:p>
            <a:pPr marL="233363">
              <a:spcBef>
                <a:spcPts val="200"/>
              </a:spcBef>
            </a:pPr>
            <a:r>
              <a:rPr lang="en-IN" sz="1100" smtClean="0">
                <a:solidFill>
                  <a:schemeClr val="tx1"/>
                </a:solidFill>
              </a:rPr>
              <a:t>FileInputFormat.setInputPaths(conf, new Path(args[0]));</a:t>
            </a:r>
          </a:p>
          <a:p>
            <a:pPr marL="233363">
              <a:spcBef>
                <a:spcPts val="200"/>
              </a:spcBef>
            </a:pPr>
            <a:r>
              <a:rPr lang="en-IN" sz="1100" smtClean="0">
                <a:solidFill>
                  <a:schemeClr val="tx1"/>
                </a:solidFill>
              </a:rPr>
              <a:t>FileOutputFormat.setOutputPath(conf, new Path(args[1]));</a:t>
            </a:r>
          </a:p>
          <a:p>
            <a:pPr marL="233363">
              <a:spcBef>
                <a:spcPts val="200"/>
              </a:spcBef>
            </a:pPr>
            <a:r>
              <a:rPr lang="en-IN" sz="1100" smtClean="0">
                <a:solidFill>
                  <a:schemeClr val="tx1"/>
                </a:solidFill>
              </a:rPr>
              <a:t>conf.setMapperClass(WordMapper.class);</a:t>
            </a:r>
          </a:p>
          <a:p>
            <a:pPr marL="233363">
              <a:spcBef>
                <a:spcPts val="200"/>
              </a:spcBef>
            </a:pPr>
            <a:r>
              <a:rPr lang="en-IN" sz="1100" smtClean="0">
                <a:solidFill>
                  <a:schemeClr val="tx1"/>
                </a:solidFill>
              </a:rPr>
              <a:t>conf.setReducerClass(SumReducer.class);</a:t>
            </a:r>
            <a:endParaRPr lang="en-IN" sz="1100">
              <a:solidFill>
                <a:schemeClr val="tx1"/>
              </a:solidFill>
            </a:endParaRPr>
          </a:p>
        </p:txBody>
      </p:sp>
    </p:spTree>
    <p:extLst>
      <p:ext uri="{BB962C8B-B14F-4D97-AF65-F5344CB8AC3E}">
        <p14:creationId xmlns:p14="http://schemas.microsoft.com/office/powerpoint/2010/main" val="1149344252"/>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Driver: Complete Code (cont’d)</a:t>
            </a:r>
            <a:endParaRPr lang="en-IN"/>
          </a:p>
        </p:txBody>
      </p:sp>
      <p:sp>
        <p:nvSpPr>
          <p:cNvPr id="3" name="Rounded Rectangle 2"/>
          <p:cNvSpPr/>
          <p:nvPr/>
        </p:nvSpPr>
        <p:spPr bwMode="gray">
          <a:xfrm>
            <a:off x="554038" y="2466753"/>
            <a:ext cx="8154027" cy="2583712"/>
          </a:xfrm>
          <a:prstGeom prst="roundRect">
            <a:avLst>
              <a:gd name="adj" fmla="val 5967"/>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rgbClr val="666666"/>
                </a:solidFill>
              </a:rPr>
              <a:t>conf.setMapOutputKeyClass(Text.class);</a:t>
            </a:r>
          </a:p>
          <a:p>
            <a:pPr marL="233363">
              <a:spcBef>
                <a:spcPts val="200"/>
              </a:spcBef>
            </a:pPr>
            <a:r>
              <a:rPr lang="en-IN" sz="1100">
                <a:solidFill>
                  <a:srgbClr val="666666"/>
                </a:solidFill>
              </a:rPr>
              <a:t>conf.setMapOutputValueClass(IntWritable.class);</a:t>
            </a:r>
          </a:p>
          <a:p>
            <a:pPr marL="233363">
              <a:spcBef>
                <a:spcPts val="200"/>
              </a:spcBef>
            </a:pPr>
            <a:r>
              <a:rPr lang="en-IN" sz="1100">
                <a:solidFill>
                  <a:srgbClr val="666666"/>
                </a:solidFill>
              </a:rPr>
              <a:t>conf.setOutputKeyClass(Text.class);</a:t>
            </a:r>
          </a:p>
          <a:p>
            <a:pPr marL="233363">
              <a:spcBef>
                <a:spcPts val="200"/>
              </a:spcBef>
            </a:pPr>
            <a:r>
              <a:rPr lang="en-IN" sz="1100">
                <a:solidFill>
                  <a:srgbClr val="666666"/>
                </a:solidFill>
              </a:rPr>
              <a:t>conf.setOutputValueClass(IntWritable.class);</a:t>
            </a:r>
          </a:p>
          <a:p>
            <a:pPr marL="233363">
              <a:spcBef>
                <a:spcPts val="200"/>
              </a:spcBef>
            </a:pPr>
            <a:r>
              <a:rPr lang="en-IN" sz="1100">
                <a:solidFill>
                  <a:srgbClr val="666666"/>
                </a:solidFill>
              </a:rPr>
              <a:t>JobClient.runJob(conf);</a:t>
            </a:r>
          </a:p>
          <a:p>
            <a:pPr marL="233363">
              <a:spcBef>
                <a:spcPts val="200"/>
              </a:spcBef>
            </a:pPr>
            <a:r>
              <a:rPr lang="en-IN" sz="1100">
                <a:solidFill>
                  <a:srgbClr val="666666"/>
                </a:solidFill>
              </a:rPr>
              <a:t>return 0;</a:t>
            </a:r>
          </a:p>
          <a:p>
            <a:pPr marL="233363">
              <a:spcBef>
                <a:spcPts val="200"/>
              </a:spcBef>
            </a:pPr>
            <a:r>
              <a:rPr lang="en-IN" sz="1100">
                <a:solidFill>
                  <a:srgbClr val="666666"/>
                </a:solidFill>
              </a:rPr>
              <a:t>}</a:t>
            </a:r>
          </a:p>
          <a:p>
            <a:pPr marL="233363">
              <a:spcBef>
                <a:spcPts val="200"/>
              </a:spcBef>
            </a:pPr>
            <a:r>
              <a:rPr lang="en-IN" sz="1100">
                <a:solidFill>
                  <a:srgbClr val="666666"/>
                </a:solidFill>
              </a:rPr>
              <a:t>public static void main(String[] args) throws Exception {</a:t>
            </a:r>
          </a:p>
          <a:p>
            <a:pPr marL="233363">
              <a:spcBef>
                <a:spcPts val="200"/>
              </a:spcBef>
            </a:pPr>
            <a:r>
              <a:rPr lang="en-IN" sz="1100">
                <a:solidFill>
                  <a:srgbClr val="666666"/>
                </a:solidFill>
              </a:rPr>
              <a:t>int exitCode = ToolRunner.run(new WordCount(), args);</a:t>
            </a:r>
          </a:p>
          <a:p>
            <a:pPr marL="233363">
              <a:spcBef>
                <a:spcPts val="200"/>
              </a:spcBef>
            </a:pPr>
            <a:r>
              <a:rPr lang="en-IN" sz="1100">
                <a:solidFill>
                  <a:srgbClr val="666666"/>
                </a:solidFill>
              </a:rPr>
              <a:t>System.exit(exitCode);</a:t>
            </a:r>
          </a:p>
          <a:p>
            <a:pPr marL="233363">
              <a:spcBef>
                <a:spcPts val="200"/>
              </a:spcBef>
            </a:pPr>
            <a:r>
              <a:rPr lang="en-IN" sz="1100">
                <a:solidFill>
                  <a:srgbClr val="666666"/>
                </a:solidFill>
              </a:rPr>
              <a:t>}</a:t>
            </a:r>
          </a:p>
          <a:p>
            <a:pPr marL="233363">
              <a:spcBef>
                <a:spcPts val="200"/>
              </a:spcBef>
            </a:pPr>
            <a:r>
              <a:rPr lang="en-IN" sz="1100">
                <a:solidFill>
                  <a:srgbClr val="666666"/>
                </a:solidFill>
              </a:rPr>
              <a:t>}</a:t>
            </a:r>
          </a:p>
        </p:txBody>
      </p:sp>
    </p:spTree>
    <p:extLst>
      <p:ext uri="{BB962C8B-B14F-4D97-AF65-F5344CB8AC3E}">
        <p14:creationId xmlns:p14="http://schemas.microsoft.com/office/powerpoint/2010/main" val="395771569"/>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Driver: Import Statements</a:t>
            </a:r>
            <a:endParaRPr lang="en-IN"/>
          </a:p>
        </p:txBody>
      </p:sp>
      <p:sp>
        <p:nvSpPr>
          <p:cNvPr id="3" name="Rounded Rectangle 2"/>
          <p:cNvSpPr/>
          <p:nvPr/>
        </p:nvSpPr>
        <p:spPr bwMode="gray">
          <a:xfrm>
            <a:off x="554038" y="1307804"/>
            <a:ext cx="8154027" cy="4901609"/>
          </a:xfrm>
          <a:prstGeom prst="roundRect">
            <a:avLst>
              <a:gd name="adj" fmla="val 5604"/>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rgbClr val="000000"/>
                </a:solidFill>
              </a:rPr>
              <a:t>import org.apache.hadoop.fs.Path;</a:t>
            </a:r>
          </a:p>
          <a:p>
            <a:pPr marL="233363">
              <a:spcBef>
                <a:spcPts val="200"/>
              </a:spcBef>
            </a:pPr>
            <a:r>
              <a:rPr lang="en-IN" sz="1100">
                <a:solidFill>
                  <a:srgbClr val="000000"/>
                </a:solidFill>
              </a:rPr>
              <a:t>import org.apache.hadoop.io.IntWritable;</a:t>
            </a:r>
          </a:p>
          <a:p>
            <a:pPr marL="233363">
              <a:spcBef>
                <a:spcPts val="200"/>
              </a:spcBef>
            </a:pPr>
            <a:r>
              <a:rPr lang="en-IN" sz="1100">
                <a:solidFill>
                  <a:srgbClr val="000000"/>
                </a:solidFill>
              </a:rPr>
              <a:t>import org.apache.hadoop.io.Text;</a:t>
            </a:r>
          </a:p>
          <a:p>
            <a:pPr marL="233363">
              <a:spcBef>
                <a:spcPts val="200"/>
              </a:spcBef>
            </a:pPr>
            <a:r>
              <a:rPr lang="en-IN" sz="1100">
                <a:solidFill>
                  <a:srgbClr val="000000"/>
                </a:solidFill>
              </a:rPr>
              <a:t>import org.apache.hadoop.mapred.FileInputFormat;</a:t>
            </a:r>
          </a:p>
          <a:p>
            <a:pPr marL="233363">
              <a:spcBef>
                <a:spcPts val="200"/>
              </a:spcBef>
            </a:pPr>
            <a:r>
              <a:rPr lang="en-IN" sz="1100">
                <a:solidFill>
                  <a:srgbClr val="000000"/>
                </a:solidFill>
              </a:rPr>
              <a:t>import org.apache.hadoop.mapred.FileOutputFormat;</a:t>
            </a:r>
          </a:p>
          <a:p>
            <a:pPr marL="233363">
              <a:spcBef>
                <a:spcPts val="200"/>
              </a:spcBef>
            </a:pPr>
            <a:r>
              <a:rPr lang="en-IN" sz="1100">
                <a:solidFill>
                  <a:srgbClr val="000000"/>
                </a:solidFill>
              </a:rPr>
              <a:t>import org.apache.hadoop.mapred.JobClient;</a:t>
            </a:r>
          </a:p>
          <a:p>
            <a:pPr marL="233363">
              <a:spcBef>
                <a:spcPts val="200"/>
              </a:spcBef>
            </a:pPr>
            <a:r>
              <a:rPr lang="en-IN" sz="1100">
                <a:solidFill>
                  <a:srgbClr val="000000"/>
                </a:solidFill>
              </a:rPr>
              <a:t>import org.apache.hadoop.mapred.JobConf;</a:t>
            </a:r>
          </a:p>
          <a:p>
            <a:pPr marL="233363">
              <a:spcBef>
                <a:spcPts val="200"/>
              </a:spcBef>
            </a:pPr>
            <a:r>
              <a:rPr lang="en-IN" sz="1100">
                <a:solidFill>
                  <a:srgbClr val="000000"/>
                </a:solidFill>
              </a:rPr>
              <a:t>import org.apache.hadoop.conf.Configured;</a:t>
            </a:r>
          </a:p>
          <a:p>
            <a:pPr marL="233363">
              <a:spcBef>
                <a:spcPts val="200"/>
              </a:spcBef>
            </a:pPr>
            <a:r>
              <a:rPr lang="en-IN" sz="1100">
                <a:solidFill>
                  <a:srgbClr val="000000"/>
                </a:solidFill>
              </a:rPr>
              <a:t>import org.apache.hadoop.util.Tool;</a:t>
            </a:r>
          </a:p>
          <a:p>
            <a:pPr marL="233363">
              <a:spcBef>
                <a:spcPts val="200"/>
              </a:spcBef>
            </a:pPr>
            <a:r>
              <a:rPr lang="en-IN" sz="1100">
                <a:solidFill>
                  <a:srgbClr val="000000"/>
                </a:solidFill>
              </a:rPr>
              <a:t>import org.apache.hadoop.util.ToolRunner;</a:t>
            </a:r>
          </a:p>
          <a:p>
            <a:pPr marL="233363">
              <a:spcBef>
                <a:spcPts val="200"/>
              </a:spcBef>
            </a:pPr>
            <a:r>
              <a:rPr lang="en-IN" sz="1100">
                <a:solidFill>
                  <a:prstClr val="white">
                    <a:lumMod val="50000"/>
                  </a:prstClr>
                </a:solidFill>
              </a:rPr>
              <a:t>public class WordCount extends Configured implements Tool {</a:t>
            </a:r>
          </a:p>
          <a:p>
            <a:pPr marL="233363">
              <a:spcBef>
                <a:spcPts val="200"/>
              </a:spcBef>
            </a:pPr>
            <a:r>
              <a:rPr lang="en-IN" sz="1100">
                <a:solidFill>
                  <a:prstClr val="white">
                    <a:lumMod val="50000"/>
                  </a:prstClr>
                </a:solidFill>
              </a:rPr>
              <a:t>public int run(String[] args) throws Exception {</a:t>
            </a:r>
          </a:p>
          <a:p>
            <a:pPr marL="233363">
              <a:spcBef>
                <a:spcPts val="200"/>
              </a:spcBef>
            </a:pPr>
            <a:r>
              <a:rPr lang="en-IN" sz="1100">
                <a:solidFill>
                  <a:prstClr val="white">
                    <a:lumMod val="50000"/>
                  </a:prstClr>
                </a:solidFill>
              </a:rPr>
              <a:t>if (args.length != 2) {</a:t>
            </a:r>
          </a:p>
          <a:p>
            <a:pPr marL="233363">
              <a:spcBef>
                <a:spcPts val="200"/>
              </a:spcBef>
            </a:pPr>
            <a:r>
              <a:rPr lang="en-IN" sz="1100">
                <a:solidFill>
                  <a:prstClr val="white">
                    <a:lumMod val="50000"/>
                  </a:prstClr>
                </a:solidFill>
              </a:rPr>
              <a:t>System.out.printf(</a:t>
            </a:r>
          </a:p>
          <a:p>
            <a:pPr marL="233363">
              <a:spcBef>
                <a:spcPts val="200"/>
              </a:spcBef>
            </a:pPr>
            <a:r>
              <a:rPr lang="en-IN" sz="1100">
                <a:solidFill>
                  <a:prstClr val="white">
                    <a:lumMod val="50000"/>
                  </a:prstClr>
                </a:solidFill>
              </a:rPr>
              <a:t>"Usage: %s [generic options] &lt;input dir&gt; &lt;output dir&gt;\n",</a:t>
            </a:r>
          </a:p>
          <a:p>
            <a:pPr marL="233363">
              <a:spcBef>
                <a:spcPts val="200"/>
              </a:spcBef>
            </a:pPr>
            <a:r>
              <a:rPr lang="en-IN" sz="1100">
                <a:solidFill>
                  <a:prstClr val="white">
                    <a:lumMod val="50000"/>
                  </a:prstClr>
                </a:solidFill>
              </a:rPr>
              <a:t>getClass().getSimpleName());</a:t>
            </a:r>
          </a:p>
          <a:p>
            <a:pPr marL="233363">
              <a:spcBef>
                <a:spcPts val="200"/>
              </a:spcBef>
            </a:pPr>
            <a:r>
              <a:rPr lang="en-IN" sz="1100">
                <a:solidFill>
                  <a:prstClr val="white">
                    <a:lumMod val="50000"/>
                  </a:prstClr>
                </a:solidFill>
              </a:rPr>
              <a:t>ToolRunner.printGenericCommandUsage(System.out);</a:t>
            </a:r>
          </a:p>
          <a:p>
            <a:pPr marL="233363">
              <a:spcBef>
                <a:spcPts val="200"/>
              </a:spcBef>
            </a:pPr>
            <a:r>
              <a:rPr lang="en-IN" sz="1100">
                <a:solidFill>
                  <a:prstClr val="white">
                    <a:lumMod val="50000"/>
                  </a:prstClr>
                </a:solidFill>
              </a:rPr>
              <a:t>return -1;</a:t>
            </a:r>
          </a:p>
          <a:p>
            <a:pPr marL="233363">
              <a:spcBef>
                <a:spcPts val="200"/>
              </a:spcBef>
            </a:pPr>
            <a:r>
              <a:rPr lang="en-IN" sz="1100">
                <a:solidFill>
                  <a:prstClr val="white">
                    <a:lumMod val="50000"/>
                  </a:prstClr>
                </a:solidFill>
              </a:rPr>
              <a:t>}</a:t>
            </a:r>
          </a:p>
          <a:p>
            <a:pPr marL="233363">
              <a:spcBef>
                <a:spcPts val="200"/>
              </a:spcBef>
            </a:pPr>
            <a:r>
              <a:rPr lang="en-IN" sz="1100">
                <a:solidFill>
                  <a:prstClr val="white">
                    <a:lumMod val="50000"/>
                  </a:prstClr>
                </a:solidFill>
              </a:rPr>
              <a:t>JobConf conf = new JobConf(getConf(), WordCount.class);</a:t>
            </a:r>
          </a:p>
          <a:p>
            <a:pPr marL="233363">
              <a:spcBef>
                <a:spcPts val="200"/>
              </a:spcBef>
            </a:pPr>
            <a:r>
              <a:rPr lang="en-IN" sz="1100">
                <a:solidFill>
                  <a:prstClr val="white">
                    <a:lumMod val="50000"/>
                  </a:prstClr>
                </a:solidFill>
              </a:rPr>
              <a:t>conf.setJobName(this.getClass().getName());</a:t>
            </a:r>
          </a:p>
          <a:p>
            <a:pPr marL="233363">
              <a:spcBef>
                <a:spcPts val="200"/>
              </a:spcBef>
            </a:pPr>
            <a:r>
              <a:rPr lang="en-IN" sz="1100">
                <a:solidFill>
                  <a:prstClr val="white">
                    <a:lumMod val="50000"/>
                  </a:prstClr>
                </a:solidFill>
              </a:rPr>
              <a:t>FileInputFormat.setInputPaths(conf, new Path(args[0]));</a:t>
            </a:r>
          </a:p>
          <a:p>
            <a:pPr marL="233363">
              <a:spcBef>
                <a:spcPts val="200"/>
              </a:spcBef>
            </a:pPr>
            <a:r>
              <a:rPr lang="en-IN" sz="1100">
                <a:solidFill>
                  <a:prstClr val="white">
                    <a:lumMod val="50000"/>
                  </a:prstClr>
                </a:solidFill>
              </a:rPr>
              <a:t>FileOutputFormat.setOutputPath(conf, new Path(args[1]));</a:t>
            </a:r>
          </a:p>
          <a:p>
            <a:pPr marL="233363">
              <a:spcBef>
                <a:spcPts val="200"/>
              </a:spcBef>
            </a:pPr>
            <a:r>
              <a:rPr lang="en-IN" sz="1100">
                <a:solidFill>
                  <a:prstClr val="white">
                    <a:lumMod val="50000"/>
                  </a:prstClr>
                </a:solidFill>
              </a:rPr>
              <a:t>conf.setMapperClass(WordMapper.class);</a:t>
            </a:r>
          </a:p>
          <a:p>
            <a:pPr marL="233363">
              <a:spcBef>
                <a:spcPts val="200"/>
              </a:spcBef>
            </a:pPr>
            <a:r>
              <a:rPr lang="en-IN" sz="1100">
                <a:solidFill>
                  <a:prstClr val="white">
                    <a:lumMod val="50000"/>
                  </a:prstClr>
                </a:solidFill>
              </a:rPr>
              <a:t>conf.setReducerClass(SumReducer.class);</a:t>
            </a:r>
          </a:p>
        </p:txBody>
      </p:sp>
      <p:sp>
        <p:nvSpPr>
          <p:cNvPr id="4" name="Rounded Rectangle 3"/>
          <p:cNvSpPr/>
          <p:nvPr/>
        </p:nvSpPr>
        <p:spPr bwMode="gray">
          <a:xfrm>
            <a:off x="1573618" y="3243229"/>
            <a:ext cx="5932968" cy="1055608"/>
          </a:xfrm>
          <a:prstGeom prst="roundRect">
            <a:avLst/>
          </a:prstGeom>
          <a:solidFill>
            <a:schemeClr val="bg1"/>
          </a:solidFill>
          <a:ln>
            <a:solidFill>
              <a:schemeClr val="bg1">
                <a:lumMod val="65000"/>
              </a:schemeClr>
            </a:solidFill>
          </a:ln>
        </p:spPr>
        <p:txBody>
          <a:bodyPr wrap="square" lIns="182880" tIns="91440" rIns="182880" bIns="91440">
            <a:spAutoFit/>
          </a:bodyPr>
          <a:lstStyle/>
          <a:p>
            <a:r>
              <a:rPr lang="en-IN" sz="1600"/>
              <a:t>You will typically import these classes into every</a:t>
            </a:r>
          </a:p>
          <a:p>
            <a:r>
              <a:rPr lang="en-IN" sz="1600"/>
              <a:t>MapReduce job you write. We will omit the import</a:t>
            </a:r>
          </a:p>
          <a:p>
            <a:r>
              <a:rPr lang="en-IN" sz="1600"/>
              <a:t>statements in future slides for brevity.</a:t>
            </a:r>
          </a:p>
        </p:txBody>
      </p:sp>
    </p:spTree>
    <p:extLst>
      <p:ext uri="{BB962C8B-B14F-4D97-AF65-F5344CB8AC3E}">
        <p14:creationId xmlns:p14="http://schemas.microsoft.com/office/powerpoint/2010/main" val="125044604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Driver: Main Code</a:t>
            </a:r>
            <a:endParaRPr lang="en-IN"/>
          </a:p>
        </p:txBody>
      </p:sp>
      <p:sp>
        <p:nvSpPr>
          <p:cNvPr id="3" name="Rounded Rectangle 2"/>
          <p:cNvSpPr/>
          <p:nvPr/>
        </p:nvSpPr>
        <p:spPr bwMode="gray">
          <a:xfrm>
            <a:off x="554038" y="1201477"/>
            <a:ext cx="8154027" cy="5114264"/>
          </a:xfrm>
          <a:prstGeom prst="roundRect">
            <a:avLst>
              <a:gd name="adj" fmla="val 3985"/>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spcBef>
                <a:spcPts val="200"/>
              </a:spcBef>
            </a:pPr>
            <a:r>
              <a:rPr lang="en-IN" sz="1100">
                <a:solidFill>
                  <a:srgbClr val="000000"/>
                </a:solidFill>
              </a:rPr>
              <a:t>public class WordCount extends Configured implements Tool {</a:t>
            </a:r>
          </a:p>
          <a:p>
            <a:pPr marL="233363">
              <a:spcBef>
                <a:spcPts val="200"/>
              </a:spcBef>
            </a:pPr>
            <a:r>
              <a:rPr lang="en-IN" sz="1100">
                <a:solidFill>
                  <a:srgbClr val="000000"/>
                </a:solidFill>
              </a:rPr>
              <a:t>public int run(String[] args) throws Exception {</a:t>
            </a:r>
          </a:p>
          <a:p>
            <a:pPr marL="233363">
              <a:spcBef>
                <a:spcPts val="200"/>
              </a:spcBef>
            </a:pPr>
            <a:r>
              <a:rPr lang="en-IN" sz="1100">
                <a:solidFill>
                  <a:srgbClr val="000000"/>
                </a:solidFill>
              </a:rPr>
              <a:t>if (args.length != 2) {</a:t>
            </a:r>
          </a:p>
          <a:p>
            <a:pPr marL="233363">
              <a:spcBef>
                <a:spcPts val="200"/>
              </a:spcBef>
            </a:pPr>
            <a:r>
              <a:rPr lang="en-IN" sz="1100">
                <a:solidFill>
                  <a:srgbClr val="000000"/>
                </a:solidFill>
              </a:rPr>
              <a:t>System.out.printf(</a:t>
            </a:r>
          </a:p>
          <a:p>
            <a:pPr marL="233363">
              <a:spcBef>
                <a:spcPts val="200"/>
              </a:spcBef>
            </a:pPr>
            <a:r>
              <a:rPr lang="en-IN" sz="1100">
                <a:solidFill>
                  <a:srgbClr val="000000"/>
                </a:solidFill>
              </a:rPr>
              <a:t>"Usage: %s [generic options] &lt;input dir&gt; &lt;output dir&gt;\n", getClass().getSimpleName());</a:t>
            </a:r>
          </a:p>
          <a:p>
            <a:pPr marL="233363">
              <a:spcBef>
                <a:spcPts val="200"/>
              </a:spcBef>
            </a:pPr>
            <a:r>
              <a:rPr lang="en-IN" sz="1100">
                <a:solidFill>
                  <a:srgbClr val="000000"/>
                </a:solidFill>
              </a:rPr>
              <a:t>ToolRunner.printGenericCommandUsage(System.out);</a:t>
            </a:r>
          </a:p>
          <a:p>
            <a:pPr marL="233363">
              <a:spcBef>
                <a:spcPts val="200"/>
              </a:spcBef>
            </a:pPr>
            <a:r>
              <a:rPr lang="en-IN" sz="1100">
                <a:solidFill>
                  <a:srgbClr val="000000"/>
                </a:solidFill>
              </a:rPr>
              <a:t>return -1;</a:t>
            </a:r>
          </a:p>
          <a:p>
            <a:pPr marL="233363">
              <a:spcBef>
                <a:spcPts val="200"/>
              </a:spcBef>
            </a:pPr>
            <a:r>
              <a:rPr lang="en-IN" sz="1100">
                <a:solidFill>
                  <a:srgbClr val="000000"/>
                </a:solidFill>
              </a:rPr>
              <a:t>}</a:t>
            </a:r>
          </a:p>
          <a:p>
            <a:pPr marL="233363">
              <a:spcBef>
                <a:spcPts val="200"/>
              </a:spcBef>
            </a:pPr>
            <a:r>
              <a:rPr lang="en-IN" sz="1100">
                <a:solidFill>
                  <a:srgbClr val="000000"/>
                </a:solidFill>
              </a:rPr>
              <a:t>JobConf conf = new JobConf(getConf(), WordCount.class);</a:t>
            </a:r>
          </a:p>
          <a:p>
            <a:pPr marL="233363">
              <a:spcBef>
                <a:spcPts val="200"/>
              </a:spcBef>
            </a:pPr>
            <a:r>
              <a:rPr lang="en-IN" sz="1100">
                <a:solidFill>
                  <a:srgbClr val="000000"/>
                </a:solidFill>
              </a:rPr>
              <a:t>conf.setJobName(this.getClass().getName());</a:t>
            </a:r>
          </a:p>
          <a:p>
            <a:pPr marL="233363">
              <a:spcBef>
                <a:spcPts val="200"/>
              </a:spcBef>
            </a:pPr>
            <a:r>
              <a:rPr lang="en-IN" sz="1100">
                <a:solidFill>
                  <a:srgbClr val="000000"/>
                </a:solidFill>
              </a:rPr>
              <a:t>FileInputFormat.setInputPaths(conf, new Path(args[0]));</a:t>
            </a:r>
          </a:p>
          <a:p>
            <a:pPr marL="233363">
              <a:spcBef>
                <a:spcPts val="200"/>
              </a:spcBef>
            </a:pPr>
            <a:r>
              <a:rPr lang="en-IN" sz="1100">
                <a:solidFill>
                  <a:srgbClr val="000000"/>
                </a:solidFill>
              </a:rPr>
              <a:t>FileOutputFormat.setOutputPath(conf, new Path(args[1]));</a:t>
            </a:r>
          </a:p>
          <a:p>
            <a:pPr marL="233363">
              <a:spcBef>
                <a:spcPts val="200"/>
              </a:spcBef>
            </a:pPr>
            <a:r>
              <a:rPr lang="en-IN" sz="1100">
                <a:solidFill>
                  <a:srgbClr val="000000"/>
                </a:solidFill>
              </a:rPr>
              <a:t>conf.setMapperClass(WordMapper.class);</a:t>
            </a:r>
          </a:p>
          <a:p>
            <a:pPr marL="233363">
              <a:spcBef>
                <a:spcPts val="200"/>
              </a:spcBef>
            </a:pPr>
            <a:r>
              <a:rPr lang="en-IN" sz="1100">
                <a:solidFill>
                  <a:srgbClr val="000000"/>
                </a:solidFill>
              </a:rPr>
              <a:t>conf.setReducerClass(SumReducer.class);</a:t>
            </a:r>
          </a:p>
          <a:p>
            <a:pPr marL="233363">
              <a:spcBef>
                <a:spcPts val="200"/>
              </a:spcBef>
            </a:pPr>
            <a:r>
              <a:rPr lang="en-IN" sz="1100">
                <a:solidFill>
                  <a:srgbClr val="000000"/>
                </a:solidFill>
              </a:rPr>
              <a:t>conf.setMapOutputKeyClass(Text.class);</a:t>
            </a:r>
          </a:p>
          <a:p>
            <a:pPr marL="233363">
              <a:spcBef>
                <a:spcPts val="200"/>
              </a:spcBef>
            </a:pPr>
            <a:r>
              <a:rPr lang="en-IN" sz="1100">
                <a:solidFill>
                  <a:srgbClr val="000000"/>
                </a:solidFill>
              </a:rPr>
              <a:t>conf.setMapOutputValueClass(IntWritable.class);</a:t>
            </a:r>
          </a:p>
          <a:p>
            <a:pPr marL="233363">
              <a:spcBef>
                <a:spcPts val="200"/>
              </a:spcBef>
            </a:pPr>
            <a:r>
              <a:rPr lang="en-IN" sz="1100">
                <a:solidFill>
                  <a:srgbClr val="000000"/>
                </a:solidFill>
              </a:rPr>
              <a:t>conf.setOutputKeyClass(Text.class);</a:t>
            </a:r>
          </a:p>
          <a:p>
            <a:pPr marL="233363">
              <a:spcBef>
                <a:spcPts val="200"/>
              </a:spcBef>
            </a:pPr>
            <a:r>
              <a:rPr lang="en-IN" sz="1100">
                <a:solidFill>
                  <a:srgbClr val="000000"/>
                </a:solidFill>
              </a:rPr>
              <a:t>conf.setOutputValueClass(IntWritable.class);</a:t>
            </a:r>
          </a:p>
          <a:p>
            <a:pPr marL="233363">
              <a:spcBef>
                <a:spcPts val="200"/>
              </a:spcBef>
            </a:pPr>
            <a:r>
              <a:rPr lang="en-IN" sz="1100">
                <a:solidFill>
                  <a:srgbClr val="000000"/>
                </a:solidFill>
              </a:rPr>
              <a:t>JobClient.runJob(conf);</a:t>
            </a:r>
          </a:p>
          <a:p>
            <a:pPr marL="233363">
              <a:spcBef>
                <a:spcPts val="200"/>
              </a:spcBef>
            </a:pPr>
            <a:r>
              <a:rPr lang="en-IN" sz="1100">
                <a:solidFill>
                  <a:srgbClr val="000000"/>
                </a:solidFill>
              </a:rPr>
              <a:t>return 0;</a:t>
            </a:r>
          </a:p>
          <a:p>
            <a:pPr marL="233363">
              <a:spcBef>
                <a:spcPts val="200"/>
              </a:spcBef>
            </a:pPr>
            <a:r>
              <a:rPr lang="en-IN" sz="1100">
                <a:solidFill>
                  <a:srgbClr val="000000"/>
                </a:solidFill>
              </a:rPr>
              <a:t>}</a:t>
            </a:r>
          </a:p>
          <a:p>
            <a:pPr marL="233363">
              <a:spcBef>
                <a:spcPts val="200"/>
              </a:spcBef>
            </a:pPr>
            <a:r>
              <a:rPr lang="en-IN" sz="1100">
                <a:solidFill>
                  <a:srgbClr val="000000"/>
                </a:solidFill>
              </a:rPr>
              <a:t>public static void main(String[] args) throws Exception {</a:t>
            </a:r>
          </a:p>
          <a:p>
            <a:pPr marL="233363">
              <a:spcBef>
                <a:spcPts val="200"/>
              </a:spcBef>
            </a:pPr>
            <a:r>
              <a:rPr lang="en-IN" sz="1100">
                <a:solidFill>
                  <a:srgbClr val="000000"/>
                </a:solidFill>
              </a:rPr>
              <a:t>int exitCode = ToolRunner.run(new WordCount(), args);</a:t>
            </a:r>
          </a:p>
          <a:p>
            <a:pPr marL="233363">
              <a:spcBef>
                <a:spcPts val="200"/>
              </a:spcBef>
            </a:pPr>
            <a:r>
              <a:rPr lang="en-IN" sz="1100">
                <a:solidFill>
                  <a:srgbClr val="000000"/>
                </a:solidFill>
              </a:rPr>
              <a:t>System.exit(exitCode);</a:t>
            </a:r>
          </a:p>
          <a:p>
            <a:pPr marL="233363">
              <a:spcBef>
                <a:spcPts val="200"/>
              </a:spcBef>
            </a:pPr>
            <a:r>
              <a:rPr lang="en-IN" sz="1100">
                <a:solidFill>
                  <a:srgbClr val="000000"/>
                </a:solidFill>
              </a:rPr>
              <a:t>}</a:t>
            </a:r>
          </a:p>
          <a:p>
            <a:pPr marL="233363">
              <a:spcBef>
                <a:spcPts val="200"/>
              </a:spcBef>
            </a:pPr>
            <a:r>
              <a:rPr lang="en-IN" sz="1100">
                <a:solidFill>
                  <a:srgbClr val="000000"/>
                </a:solidFill>
              </a:rPr>
              <a:t>}</a:t>
            </a:r>
          </a:p>
        </p:txBody>
      </p:sp>
    </p:spTree>
    <p:extLst>
      <p:ext uri="{BB962C8B-B14F-4D97-AF65-F5344CB8AC3E}">
        <p14:creationId xmlns:p14="http://schemas.microsoft.com/office/powerpoint/2010/main" val="3127888299"/>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The Driver Class: Using ToolRunner</a:t>
            </a:r>
            <a:endParaRPr lang="en-IN"/>
          </a:p>
        </p:txBody>
      </p:sp>
      <p:sp>
        <p:nvSpPr>
          <p:cNvPr id="3" name="Rounded Rectangle 2"/>
          <p:cNvSpPr/>
          <p:nvPr/>
        </p:nvSpPr>
        <p:spPr bwMode="gray">
          <a:xfrm>
            <a:off x="554038" y="1307804"/>
            <a:ext cx="8154027" cy="4901609"/>
          </a:xfrm>
          <a:prstGeom prst="roundRect">
            <a:avLst>
              <a:gd name="adj" fmla="val 3652"/>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srgbClr val="666666"/>
                </a:solidFill>
              </a:rPr>
              <a:t>public class WordCount extends Configured implements Tool {</a:t>
            </a:r>
          </a:p>
          <a:p>
            <a:pPr marL="233363"/>
            <a:r>
              <a:rPr lang="en-IN" sz="1100">
                <a:solidFill>
                  <a:srgbClr val="666666">
                    <a:lumMod val="65000"/>
                    <a:lumOff val="35000"/>
                  </a:srgbClr>
                </a:solidFill>
              </a:rPr>
              <a:t>public int run(String[] args) throws Exception {</a:t>
            </a:r>
          </a:p>
          <a:p>
            <a:pPr marL="233363"/>
            <a:r>
              <a:rPr lang="en-IN" sz="1100">
                <a:solidFill>
                  <a:srgbClr val="666666">
                    <a:lumMod val="65000"/>
                    <a:lumOff val="35000"/>
                  </a:srgbClr>
                </a:solidFill>
              </a:rPr>
              <a:t>if (args.length != 2) {</a:t>
            </a:r>
          </a:p>
          <a:p>
            <a:pPr marL="233363"/>
            <a:r>
              <a:rPr lang="en-IN" sz="1100">
                <a:solidFill>
                  <a:srgbClr val="666666">
                    <a:lumMod val="65000"/>
                    <a:lumOff val="35000"/>
                  </a:srgbClr>
                </a:solidFill>
              </a:rPr>
              <a:t>System.out.printf(</a:t>
            </a:r>
          </a:p>
          <a:p>
            <a:pPr marL="233363"/>
            <a:r>
              <a:rPr lang="en-IN" sz="1100">
                <a:solidFill>
                  <a:srgbClr val="666666">
                    <a:lumMod val="65000"/>
                    <a:lumOff val="35000"/>
                  </a:srgbClr>
                </a:solidFill>
              </a:rPr>
              <a:t>"Usage: %s [generic options] &lt;input dir&gt; &lt;output dir&gt;\n", getClass().getSimpleName());</a:t>
            </a:r>
          </a:p>
          <a:p>
            <a:pPr marL="233363"/>
            <a:r>
              <a:rPr lang="en-IN" sz="1100">
                <a:solidFill>
                  <a:srgbClr val="666666">
                    <a:lumMod val="65000"/>
                    <a:lumOff val="35000"/>
                  </a:srgbClr>
                </a:solidFill>
              </a:rPr>
              <a:t>ToolRunner.printGenericCommandUsage(System.out);</a:t>
            </a:r>
          </a:p>
          <a:p>
            <a:pPr marL="233363"/>
            <a:r>
              <a:rPr lang="en-IN" sz="1100">
                <a:solidFill>
                  <a:srgbClr val="666666">
                    <a:lumMod val="65000"/>
                    <a:lumOff val="35000"/>
                  </a:srgbClr>
                </a:solidFill>
              </a:rPr>
              <a:t>return -1;</a:t>
            </a:r>
          </a:p>
          <a:p>
            <a:pPr marL="233363"/>
            <a:r>
              <a:rPr lang="en-IN" sz="1100">
                <a:solidFill>
                  <a:srgbClr val="666666">
                    <a:lumMod val="65000"/>
                    <a:lumOff val="35000"/>
                  </a:srgbClr>
                </a:solidFill>
              </a:rPr>
              <a:t>}</a:t>
            </a:r>
          </a:p>
          <a:p>
            <a:pPr marL="233363"/>
            <a:r>
              <a:rPr lang="en-IN" sz="1100">
                <a:solidFill>
                  <a:srgbClr val="666666">
                    <a:lumMod val="65000"/>
                    <a:lumOff val="35000"/>
                  </a:srgbClr>
                </a:solidFill>
              </a:rPr>
              <a:t>JobConf co</a:t>
            </a:r>
            <a:r>
              <a:rPr lang="en-IN" sz="1100">
                <a:solidFill>
                  <a:prstClr val="white">
                    <a:lumMod val="65000"/>
                  </a:prstClr>
                </a:solidFill>
              </a:rPr>
              <a:t>nf = new JobConf(getConf(), WordCount.class);</a:t>
            </a:r>
          </a:p>
          <a:p>
            <a:pPr marL="233363"/>
            <a:r>
              <a:rPr lang="en-IN" sz="1100">
                <a:solidFill>
                  <a:prstClr val="white">
                    <a:lumMod val="65000"/>
                  </a:prstClr>
                </a:solidFill>
              </a:rPr>
              <a:t>conf.setJobName(this.getClass</a:t>
            </a:r>
            <a:r>
              <a:rPr lang="en-IN" sz="1100">
                <a:solidFill>
                  <a:srgbClr val="666666">
                    <a:lumMod val="65000"/>
                    <a:lumOff val="35000"/>
                  </a:srgbClr>
                </a:solidFill>
              </a:rPr>
              <a:t>().getName());</a:t>
            </a:r>
          </a:p>
          <a:p>
            <a:pPr marL="233363"/>
            <a:r>
              <a:rPr lang="en-IN" sz="1100">
                <a:solidFill>
                  <a:srgbClr val="666666">
                    <a:lumMod val="65000"/>
                    <a:lumOff val="35000"/>
                  </a:srgbClr>
                </a:solidFill>
              </a:rPr>
              <a:t>FileInputFormat.setInputPaths(conf, new Path(args[0]));</a:t>
            </a:r>
          </a:p>
          <a:p>
            <a:pPr marL="233363"/>
            <a:r>
              <a:rPr lang="en-IN" sz="1100">
                <a:solidFill>
                  <a:srgbClr val="666666">
                    <a:lumMod val="65000"/>
                    <a:lumOff val="35000"/>
                  </a:srgbClr>
                </a:solidFill>
              </a:rPr>
              <a:t>FileOutputFormat.setOutputPath(conf, new Path(args[1]));</a:t>
            </a:r>
          </a:p>
          <a:p>
            <a:pPr marL="233363"/>
            <a:r>
              <a:rPr lang="en-IN" sz="1100">
                <a:solidFill>
                  <a:srgbClr val="666666">
                    <a:lumMod val="65000"/>
                    <a:lumOff val="35000"/>
                  </a:srgbClr>
                </a:solidFill>
              </a:rPr>
              <a:t>conf.setMapperClass(WordMapper.class);</a:t>
            </a:r>
          </a:p>
          <a:p>
            <a:pPr marL="233363"/>
            <a:r>
              <a:rPr lang="en-IN" sz="1100">
                <a:solidFill>
                  <a:srgbClr val="666666">
                    <a:lumMod val="65000"/>
                    <a:lumOff val="35000"/>
                  </a:srgbClr>
                </a:solidFill>
              </a:rPr>
              <a:t>conf.setReducerClass(SumReducer.class);</a:t>
            </a:r>
          </a:p>
          <a:p>
            <a:pPr marL="233363"/>
            <a:r>
              <a:rPr lang="en-IN" sz="1100">
                <a:solidFill>
                  <a:srgbClr val="666666">
                    <a:lumMod val="65000"/>
                    <a:lumOff val="35000"/>
                  </a:srgbClr>
                </a:solidFill>
              </a:rPr>
              <a:t>conf.setMapOutputKeyClass(Text.class);</a:t>
            </a:r>
          </a:p>
          <a:p>
            <a:pPr marL="233363"/>
            <a:r>
              <a:rPr lang="en-IN" sz="1100">
                <a:solidFill>
                  <a:srgbClr val="666666">
                    <a:lumMod val="65000"/>
                    <a:lumOff val="35000"/>
                  </a:srgbClr>
                </a:solidFill>
              </a:rPr>
              <a:t>conf.setMapOutputValueClass(IntWritable.class);</a:t>
            </a:r>
          </a:p>
          <a:p>
            <a:pPr marL="233363"/>
            <a:r>
              <a:rPr lang="en-IN" sz="1100">
                <a:solidFill>
                  <a:srgbClr val="666666">
                    <a:lumMod val="65000"/>
                    <a:lumOff val="35000"/>
                  </a:srgbClr>
                </a:solidFill>
              </a:rPr>
              <a:t>conf.setOutputKeyClass(Text.class);</a:t>
            </a:r>
          </a:p>
          <a:p>
            <a:pPr marL="233363"/>
            <a:r>
              <a:rPr lang="en-IN" sz="1100">
                <a:solidFill>
                  <a:srgbClr val="666666">
                    <a:lumMod val="65000"/>
                    <a:lumOff val="35000"/>
                  </a:srgbClr>
                </a:solidFill>
              </a:rPr>
              <a:t>conf.setOutputValueClass(IntWritable.class);</a:t>
            </a:r>
          </a:p>
          <a:p>
            <a:pPr marL="233363"/>
            <a:r>
              <a:rPr lang="en-IN" sz="1100">
                <a:solidFill>
                  <a:srgbClr val="666666">
                    <a:lumMod val="65000"/>
                    <a:lumOff val="35000"/>
                  </a:srgbClr>
                </a:solidFill>
              </a:rPr>
              <a:t>JobClient.runJob(conf);</a:t>
            </a:r>
          </a:p>
          <a:p>
            <a:pPr marL="233363"/>
            <a:r>
              <a:rPr lang="en-IN" sz="1100">
                <a:solidFill>
                  <a:srgbClr val="666666">
                    <a:lumMod val="65000"/>
                    <a:lumOff val="35000"/>
                  </a:srgbClr>
                </a:solidFill>
              </a:rPr>
              <a:t>return 0;</a:t>
            </a:r>
          </a:p>
          <a:p>
            <a:pPr marL="233363"/>
            <a:r>
              <a:rPr lang="en-IN" sz="1100">
                <a:solidFill>
                  <a:srgbClr val="666666">
                    <a:lumMod val="65000"/>
                    <a:lumOff val="35000"/>
                  </a:srgbClr>
                </a:solidFill>
              </a:rPr>
              <a:t>}</a:t>
            </a:r>
          </a:p>
          <a:p>
            <a:pPr marL="233363"/>
            <a:r>
              <a:rPr lang="en-IN" sz="1100">
                <a:solidFill>
                  <a:srgbClr val="666666">
                    <a:lumMod val="65000"/>
                    <a:lumOff val="35000"/>
                  </a:srgbClr>
                </a:solidFill>
              </a:rPr>
              <a:t>public static void main(String[] args) throws Exception {</a:t>
            </a:r>
          </a:p>
          <a:p>
            <a:pPr marL="233363"/>
            <a:r>
              <a:rPr lang="en-IN" sz="1100">
                <a:solidFill>
                  <a:srgbClr val="666666">
                    <a:lumMod val="65000"/>
                    <a:lumOff val="35000"/>
                  </a:srgbClr>
                </a:solidFill>
              </a:rPr>
              <a:t>int exitCode = ToolRunner.run(new WordCount(), args);</a:t>
            </a:r>
          </a:p>
          <a:p>
            <a:pPr marL="233363"/>
            <a:r>
              <a:rPr lang="en-IN" sz="1100">
                <a:solidFill>
                  <a:srgbClr val="666666">
                    <a:lumMod val="65000"/>
                    <a:lumOff val="35000"/>
                  </a:srgbClr>
                </a:solidFill>
              </a:rPr>
              <a:t>System.exit(exitCode);</a:t>
            </a:r>
          </a:p>
          <a:p>
            <a:pPr marL="233363"/>
            <a:r>
              <a:rPr lang="en-IN" sz="1100">
                <a:solidFill>
                  <a:srgbClr val="666666">
                    <a:lumMod val="65000"/>
                    <a:lumOff val="35000"/>
                  </a:srgbClr>
                </a:solidFill>
              </a:rPr>
              <a:t>}</a:t>
            </a:r>
          </a:p>
          <a:p>
            <a:pPr marL="233363"/>
            <a:r>
              <a:rPr lang="en-IN" sz="1100">
                <a:solidFill>
                  <a:srgbClr val="666666">
                    <a:lumMod val="65000"/>
                    <a:lumOff val="35000"/>
                  </a:srgbClr>
                </a:solidFill>
              </a:rPr>
              <a:t>}</a:t>
            </a:r>
          </a:p>
        </p:txBody>
      </p:sp>
      <p:sp>
        <p:nvSpPr>
          <p:cNvPr id="4" name="Rounded Rectangle 3"/>
          <p:cNvSpPr/>
          <p:nvPr/>
        </p:nvSpPr>
        <p:spPr bwMode="gray">
          <a:xfrm>
            <a:off x="1573616" y="3243229"/>
            <a:ext cx="6475231" cy="1511618"/>
          </a:xfrm>
          <a:prstGeom prst="roundRect">
            <a:avLst>
              <a:gd name="adj" fmla="val 12041"/>
            </a:avLst>
          </a:prstGeom>
          <a:solidFill>
            <a:schemeClr val="bg1"/>
          </a:solidFill>
          <a:ln>
            <a:solidFill>
              <a:schemeClr val="bg1">
                <a:lumMod val="65000"/>
              </a:schemeClr>
            </a:solidFill>
          </a:ln>
        </p:spPr>
        <p:txBody>
          <a:bodyPr wrap="square" lIns="182880" tIns="91440" rIns="182880" bIns="91440">
            <a:spAutoFit/>
          </a:bodyPr>
          <a:lstStyle/>
          <a:p>
            <a:r>
              <a:rPr lang="en-IN" sz="1600" smtClean="0"/>
              <a:t>Your driver class extends configured and implements Tool. This allows the user to specify configuration settings on the command line, which will then be incorporated into the job’s configuration when it is submitted to the server. Although this is not compulsory, it is considered a best practice. (We will discuss ToolRunner in more detail later.)</a:t>
            </a:r>
            <a:endParaRPr lang="en-IN" sz="1600"/>
          </a:p>
        </p:txBody>
      </p:sp>
    </p:spTree>
    <p:extLst>
      <p:ext uri="{BB962C8B-B14F-4D97-AF65-F5344CB8AC3E}">
        <p14:creationId xmlns:p14="http://schemas.microsoft.com/office/powerpoint/2010/main" val="4010358262"/>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normAutofit/>
          </a:bodyPr>
          <a:lstStyle/>
          <a:p>
            <a:r>
              <a:rPr lang="en-IN" smtClean="0"/>
              <a:t>The Driver Class: Using ToolRunner (cont’d)</a:t>
            </a:r>
            <a:endParaRPr lang="en-IN"/>
          </a:p>
        </p:txBody>
      </p:sp>
      <p:sp>
        <p:nvSpPr>
          <p:cNvPr id="3" name="Rounded Rectangle 2"/>
          <p:cNvSpPr/>
          <p:nvPr/>
        </p:nvSpPr>
        <p:spPr bwMode="gray">
          <a:xfrm>
            <a:off x="554038" y="1307804"/>
            <a:ext cx="8154027" cy="4901609"/>
          </a:xfrm>
          <a:prstGeom prst="roundRect">
            <a:avLst>
              <a:gd name="adj" fmla="val 4085"/>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srgbClr val="666666">
                    <a:lumMod val="65000"/>
                    <a:lumOff val="35000"/>
                  </a:srgbClr>
                </a:solidFill>
              </a:rPr>
              <a:t>public class WordCount extends Configured implements Tool {</a:t>
            </a:r>
          </a:p>
          <a:p>
            <a:pPr marL="233363"/>
            <a:r>
              <a:rPr lang="en-IN" sz="1100">
                <a:solidFill>
                  <a:srgbClr val="666666">
                    <a:lumMod val="65000"/>
                    <a:lumOff val="35000"/>
                  </a:srgbClr>
                </a:solidFill>
              </a:rPr>
              <a:t>public int run(String[] args) throws Exception {</a:t>
            </a:r>
          </a:p>
          <a:p>
            <a:pPr marL="233363"/>
            <a:r>
              <a:rPr lang="en-IN" sz="1100">
                <a:solidFill>
                  <a:srgbClr val="666666">
                    <a:lumMod val="65000"/>
                    <a:lumOff val="35000"/>
                  </a:srgbClr>
                </a:solidFill>
              </a:rPr>
              <a:t>if (args.length != 2) {</a:t>
            </a:r>
          </a:p>
          <a:p>
            <a:pPr marL="233363"/>
            <a:r>
              <a:rPr lang="en-IN" sz="1100">
                <a:solidFill>
                  <a:srgbClr val="666666">
                    <a:lumMod val="65000"/>
                    <a:lumOff val="35000"/>
                  </a:srgbClr>
                </a:solidFill>
              </a:rPr>
              <a:t>System.out.printf(</a:t>
            </a:r>
          </a:p>
          <a:p>
            <a:pPr marL="233363"/>
            <a:r>
              <a:rPr lang="en-IN" sz="1100">
                <a:solidFill>
                  <a:srgbClr val="666666">
                    <a:lumMod val="65000"/>
                    <a:lumOff val="35000"/>
                  </a:srgbClr>
                </a:solidFill>
              </a:rPr>
              <a:t>"Usage: %s [generic options] &lt;input dir&gt; &lt;output dir&gt;\n", getClass().getSimpleName());</a:t>
            </a:r>
          </a:p>
          <a:p>
            <a:pPr marL="233363"/>
            <a:r>
              <a:rPr lang="en-IN" sz="1100">
                <a:solidFill>
                  <a:srgbClr val="666666">
                    <a:lumMod val="65000"/>
                    <a:lumOff val="35000"/>
                  </a:srgbClr>
                </a:solidFill>
              </a:rPr>
              <a:t>ToolRunner.printGenericCommandUsage(System.out);</a:t>
            </a:r>
          </a:p>
          <a:p>
            <a:pPr marL="233363"/>
            <a:r>
              <a:rPr lang="en-IN" sz="1100">
                <a:solidFill>
                  <a:srgbClr val="666666">
                    <a:lumMod val="65000"/>
                    <a:lumOff val="35000"/>
                  </a:srgbClr>
                </a:solidFill>
              </a:rPr>
              <a:t>return -1;</a:t>
            </a:r>
          </a:p>
          <a:p>
            <a:pPr marL="233363"/>
            <a:r>
              <a:rPr lang="en-IN" sz="1100">
                <a:solidFill>
                  <a:srgbClr val="666666">
                    <a:lumMod val="65000"/>
                    <a:lumOff val="35000"/>
                  </a:srgbClr>
                </a:solidFill>
              </a:rPr>
              <a:t>}</a:t>
            </a:r>
          </a:p>
          <a:p>
            <a:pPr marL="233363"/>
            <a:r>
              <a:rPr lang="en-IN" sz="1100">
                <a:solidFill>
                  <a:srgbClr val="666666">
                    <a:lumMod val="65000"/>
                    <a:lumOff val="35000"/>
                  </a:srgbClr>
                </a:solidFill>
              </a:rPr>
              <a:t>JobConf conf = new JobConf(getConf(), WordCount.class);</a:t>
            </a:r>
          </a:p>
          <a:p>
            <a:pPr marL="233363"/>
            <a:r>
              <a:rPr lang="en-IN" sz="1100">
                <a:solidFill>
                  <a:srgbClr val="666666">
                    <a:lumMod val="65000"/>
                    <a:lumOff val="35000"/>
                  </a:srgbClr>
                </a:solidFill>
              </a:rPr>
              <a:t>conf.setJobName(this.getClass().getName());</a:t>
            </a:r>
          </a:p>
          <a:p>
            <a:pPr marL="233363"/>
            <a:r>
              <a:rPr lang="en-IN" sz="1100">
                <a:solidFill>
                  <a:srgbClr val="666666">
                    <a:lumMod val="65000"/>
                    <a:lumOff val="35000"/>
                  </a:srgbClr>
                </a:solidFill>
              </a:rPr>
              <a:t>FileInputFormat.setInputPaths(conf, new Path(args[0]));</a:t>
            </a:r>
          </a:p>
          <a:p>
            <a:pPr marL="233363"/>
            <a:r>
              <a:rPr lang="en-IN" sz="1100">
                <a:solidFill>
                  <a:srgbClr val="666666">
                    <a:lumMod val="65000"/>
                    <a:lumOff val="35000"/>
                  </a:srgbClr>
                </a:solidFill>
              </a:rPr>
              <a:t>FileOutputFormat.setOutputPath(conf, new Path(args[1]));</a:t>
            </a:r>
          </a:p>
          <a:p>
            <a:pPr marL="233363"/>
            <a:r>
              <a:rPr lang="en-IN" sz="1100">
                <a:solidFill>
                  <a:srgbClr val="666666">
                    <a:lumMod val="65000"/>
                    <a:lumOff val="35000"/>
                  </a:srgbClr>
                </a:solidFill>
              </a:rPr>
              <a:t>conf.setMapperClass(WordMapper.class);</a:t>
            </a:r>
          </a:p>
          <a:p>
            <a:pPr marL="233363"/>
            <a:r>
              <a:rPr lang="en-IN" sz="1100">
                <a:solidFill>
                  <a:srgbClr val="666666">
                    <a:lumMod val="65000"/>
                    <a:lumOff val="35000"/>
                  </a:srgbClr>
                </a:solidFill>
              </a:rPr>
              <a:t>conf.setReducerClass(SumReducer.class);</a:t>
            </a:r>
          </a:p>
          <a:p>
            <a:pPr marL="233363"/>
            <a:r>
              <a:rPr lang="en-IN" sz="1100">
                <a:solidFill>
                  <a:srgbClr val="666666">
                    <a:lumMod val="65000"/>
                    <a:lumOff val="35000"/>
                  </a:srgbClr>
                </a:solidFill>
              </a:rPr>
              <a:t>conf.setMapOutputKeyClass(Text.class);</a:t>
            </a:r>
          </a:p>
          <a:p>
            <a:pPr marL="233363"/>
            <a:r>
              <a:rPr lang="en-IN" sz="1100">
                <a:solidFill>
                  <a:srgbClr val="666666">
                    <a:lumMod val="65000"/>
                    <a:lumOff val="35000"/>
                  </a:srgbClr>
                </a:solidFill>
              </a:rPr>
              <a:t>conf.setMapOutputValueClass(IntWritable.class);</a:t>
            </a:r>
          </a:p>
          <a:p>
            <a:pPr marL="233363"/>
            <a:r>
              <a:rPr lang="en-IN" sz="1100">
                <a:solidFill>
                  <a:srgbClr val="666666">
                    <a:lumMod val="65000"/>
                    <a:lumOff val="35000"/>
                  </a:srgbClr>
                </a:solidFill>
              </a:rPr>
              <a:t>conf.setOutputKeyClass(Text.class);</a:t>
            </a:r>
          </a:p>
          <a:p>
            <a:pPr marL="233363"/>
            <a:r>
              <a:rPr lang="en-IN" sz="1100">
                <a:solidFill>
                  <a:srgbClr val="666666">
                    <a:lumMod val="65000"/>
                    <a:lumOff val="35000"/>
                  </a:srgbClr>
                </a:solidFill>
              </a:rPr>
              <a:t>conf.setOutputValueClass(IntWritable.class);</a:t>
            </a:r>
          </a:p>
          <a:p>
            <a:pPr marL="233363"/>
            <a:r>
              <a:rPr lang="en-IN" sz="1100">
                <a:solidFill>
                  <a:srgbClr val="666666">
                    <a:lumMod val="65000"/>
                    <a:lumOff val="35000"/>
                  </a:srgbClr>
                </a:solidFill>
              </a:rPr>
              <a:t>JobClient.runJob(conf);</a:t>
            </a:r>
          </a:p>
          <a:p>
            <a:pPr marL="233363"/>
            <a:r>
              <a:rPr lang="en-IN" sz="1100">
                <a:solidFill>
                  <a:srgbClr val="666666">
                    <a:lumMod val="65000"/>
                    <a:lumOff val="35000"/>
                  </a:srgbClr>
                </a:solidFill>
              </a:rPr>
              <a:t>return 0;</a:t>
            </a:r>
          </a:p>
          <a:p>
            <a:pPr marL="233363"/>
            <a:r>
              <a:rPr lang="en-IN" sz="1100">
                <a:solidFill>
                  <a:srgbClr val="666666">
                    <a:lumMod val="65000"/>
                    <a:lumOff val="35000"/>
                  </a:srgbClr>
                </a:solidFill>
              </a:rPr>
              <a:t>}</a:t>
            </a:r>
          </a:p>
          <a:p>
            <a:pPr marL="233363"/>
            <a:r>
              <a:rPr lang="en-IN" sz="1100">
                <a:solidFill>
                  <a:srgbClr val="666666"/>
                </a:solidFill>
              </a:rPr>
              <a:t>public static void main(String[] args) throws Exception {</a:t>
            </a:r>
          </a:p>
          <a:p>
            <a:pPr marL="233363"/>
            <a:r>
              <a:rPr lang="en-IN" sz="1100">
                <a:solidFill>
                  <a:srgbClr val="666666"/>
                </a:solidFill>
              </a:rPr>
              <a:t>int exitCode = ToolRunner.run(new WordCount(), args);</a:t>
            </a:r>
          </a:p>
          <a:p>
            <a:pPr marL="233363"/>
            <a:r>
              <a:rPr lang="en-IN" sz="1100">
                <a:solidFill>
                  <a:srgbClr val="666666"/>
                </a:solidFill>
              </a:rPr>
              <a:t>System.exit(exitCode);</a:t>
            </a:r>
          </a:p>
          <a:p>
            <a:pPr marL="233363"/>
            <a:r>
              <a:rPr lang="en-IN" sz="1100">
                <a:solidFill>
                  <a:srgbClr val="666666"/>
                </a:solidFill>
              </a:rPr>
              <a:t>}</a:t>
            </a:r>
          </a:p>
          <a:p>
            <a:pPr marL="233363"/>
            <a:r>
              <a:rPr lang="en-IN" sz="1100">
                <a:solidFill>
                  <a:srgbClr val="666666"/>
                </a:solidFill>
              </a:rPr>
              <a:t>}</a:t>
            </a:r>
          </a:p>
        </p:txBody>
      </p:sp>
      <p:sp>
        <p:nvSpPr>
          <p:cNvPr id="4" name="Rounded Rectangle 3"/>
          <p:cNvSpPr/>
          <p:nvPr/>
        </p:nvSpPr>
        <p:spPr bwMode="gray">
          <a:xfrm>
            <a:off x="1573618" y="3243229"/>
            <a:ext cx="5932968" cy="994767"/>
          </a:xfrm>
          <a:prstGeom prst="roundRect">
            <a:avLst>
              <a:gd name="adj" fmla="val 12882"/>
            </a:avLst>
          </a:prstGeom>
          <a:solidFill>
            <a:schemeClr val="bg1"/>
          </a:solidFill>
          <a:ln>
            <a:solidFill>
              <a:schemeClr val="bg1">
                <a:lumMod val="65000"/>
              </a:schemeClr>
            </a:solidFill>
          </a:ln>
        </p:spPr>
        <p:txBody>
          <a:bodyPr wrap="square" lIns="182880" tIns="91440" rIns="182880" bIns="91440">
            <a:spAutoFit/>
          </a:bodyPr>
          <a:lstStyle/>
          <a:p>
            <a:r>
              <a:rPr lang="en-IN" sz="1600" smtClean="0"/>
              <a:t>The main method simply calls ToolRubber.run(). Passing in the driver class and the command-line arguments. </a:t>
            </a:r>
            <a:r>
              <a:rPr lang="en-IN" sz="1600"/>
              <a:t>The </a:t>
            </a:r>
            <a:r>
              <a:rPr lang="en-IN" sz="1600" smtClean="0"/>
              <a:t>job will </a:t>
            </a:r>
            <a:r>
              <a:rPr lang="en-IN" sz="1600"/>
              <a:t>then be configured and submitted in the run method.</a:t>
            </a:r>
          </a:p>
        </p:txBody>
      </p:sp>
    </p:spTree>
    <p:extLst>
      <p:ext uri="{BB962C8B-B14F-4D97-AF65-F5344CB8AC3E}">
        <p14:creationId xmlns:p14="http://schemas.microsoft.com/office/powerpoint/2010/main" val="53271056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dirty="0" smtClean="0"/>
              <a:t>LIMITATIONS OF EXISTING TECHNOLOGIES</a:t>
            </a:r>
            <a:endParaRPr lang="en-IN" dirty="0"/>
          </a:p>
        </p:txBody>
      </p:sp>
      <p:sp>
        <p:nvSpPr>
          <p:cNvPr id="24" name="Cloud Callout 23"/>
          <p:cNvSpPr/>
          <p:nvPr/>
        </p:nvSpPr>
        <p:spPr bwMode="gray">
          <a:xfrm>
            <a:off x="584200" y="2264070"/>
            <a:ext cx="2129971" cy="1050925"/>
          </a:xfrm>
          <a:prstGeom prst="cloudCallout">
            <a:avLst>
              <a:gd name="adj1" fmla="val 81310"/>
              <a:gd name="adj2" fmla="val -30845"/>
            </a:avLst>
          </a:pr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1200">
                <a:solidFill>
                  <a:schemeClr val="bg1"/>
                </a:solidFill>
              </a:rPr>
              <a:t>A meagre 10% of the 2PB Data is available for BI</a:t>
            </a:r>
            <a:endParaRPr lang="en-IN" sz="1200">
              <a:solidFill>
                <a:schemeClr val="bg1"/>
              </a:solidFill>
            </a:endParaRPr>
          </a:p>
        </p:txBody>
      </p:sp>
      <p:sp>
        <p:nvSpPr>
          <p:cNvPr id="25" name="Cloud Callout 24"/>
          <p:cNvSpPr/>
          <p:nvPr/>
        </p:nvSpPr>
        <p:spPr bwMode="gray">
          <a:xfrm>
            <a:off x="686405" y="4472763"/>
            <a:ext cx="1850061" cy="870857"/>
          </a:xfrm>
          <a:prstGeom prst="cloudCallout">
            <a:avLst>
              <a:gd name="adj1" fmla="val 65155"/>
              <a:gd name="adj2" fmla="val -29099"/>
            </a:avLst>
          </a:pr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1200">
                <a:solidFill>
                  <a:schemeClr val="bg1"/>
                </a:solidFill>
              </a:rPr>
              <a:t>Storage</a:t>
            </a:r>
            <a:endParaRPr lang="en-IN" sz="1200">
              <a:solidFill>
                <a:schemeClr val="bg1"/>
              </a:solidFill>
            </a:endParaRPr>
          </a:p>
        </p:txBody>
      </p:sp>
      <p:sp>
        <p:nvSpPr>
          <p:cNvPr id="26" name="Cloud Callout 25"/>
          <p:cNvSpPr/>
          <p:nvPr/>
        </p:nvSpPr>
        <p:spPr bwMode="gray">
          <a:xfrm>
            <a:off x="7247493" y="2125812"/>
            <a:ext cx="1428674" cy="949026"/>
          </a:xfrm>
          <a:prstGeom prst="cloudCallout">
            <a:avLst>
              <a:gd name="adj1" fmla="val -78348"/>
              <a:gd name="adj2" fmla="val 33819"/>
            </a:avLst>
          </a:pr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1200" smtClean="0">
                <a:solidFill>
                  <a:schemeClr val="bg1"/>
                </a:solidFill>
              </a:rPr>
              <a:t>Processing</a:t>
            </a:r>
            <a:endParaRPr lang="en-IN" sz="1200">
              <a:solidFill>
                <a:schemeClr val="bg1"/>
              </a:solidFill>
            </a:endParaRPr>
          </a:p>
        </p:txBody>
      </p:sp>
      <p:sp>
        <p:nvSpPr>
          <p:cNvPr id="27" name="Cloud Callout 26"/>
          <p:cNvSpPr/>
          <p:nvPr/>
        </p:nvSpPr>
        <p:spPr bwMode="gray">
          <a:xfrm>
            <a:off x="7058911" y="3463743"/>
            <a:ext cx="1589789" cy="748342"/>
          </a:xfrm>
          <a:prstGeom prst="cloudCallout">
            <a:avLst>
              <a:gd name="adj1" fmla="val -49869"/>
              <a:gd name="adj2" fmla="val 57347"/>
            </a:avLst>
          </a:pr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1200">
                <a:solidFill>
                  <a:schemeClr val="bg1"/>
                </a:solidFill>
              </a:rPr>
              <a:t>90% of </a:t>
            </a:r>
            <a:r>
              <a:rPr lang="en-US" sz="1200" smtClean="0">
                <a:solidFill>
                  <a:schemeClr val="bg1"/>
                </a:solidFill>
              </a:rPr>
              <a:t>the 2PB </a:t>
            </a:r>
            <a:r>
              <a:rPr lang="en-US" sz="1200">
                <a:solidFill>
                  <a:schemeClr val="bg1"/>
                </a:solidFill>
              </a:rPr>
              <a:t>archived</a:t>
            </a:r>
            <a:endParaRPr lang="en-IN" sz="1200">
              <a:solidFill>
                <a:schemeClr val="bg1"/>
              </a:solidFill>
            </a:endParaRPr>
          </a:p>
        </p:txBody>
      </p:sp>
      <p:sp>
        <p:nvSpPr>
          <p:cNvPr id="40" name="Rounded Rectangle 39"/>
          <p:cNvSpPr/>
          <p:nvPr/>
        </p:nvSpPr>
        <p:spPr bwMode="gray">
          <a:xfrm>
            <a:off x="3454400" y="1719036"/>
            <a:ext cx="2510972" cy="437244"/>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BI Reports + Interactive Apps</a:t>
            </a:r>
            <a:endParaRPr lang="en-IN" sz="1400"/>
          </a:p>
        </p:txBody>
      </p:sp>
      <p:sp>
        <p:nvSpPr>
          <p:cNvPr id="41" name="Rounded Rectangle 40"/>
          <p:cNvSpPr/>
          <p:nvPr/>
        </p:nvSpPr>
        <p:spPr bwMode="gray">
          <a:xfrm>
            <a:off x="3454400" y="2279857"/>
            <a:ext cx="2510972" cy="437244"/>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DBMS (Aggregated Data) </a:t>
            </a:r>
            <a:endParaRPr lang="en-IN" sz="1400" dirty="0"/>
          </a:p>
        </p:txBody>
      </p:sp>
      <p:sp>
        <p:nvSpPr>
          <p:cNvPr id="42" name="Rounded Rectangle 41"/>
          <p:cNvSpPr/>
          <p:nvPr/>
        </p:nvSpPr>
        <p:spPr bwMode="gray">
          <a:xfrm>
            <a:off x="3454400" y="2840679"/>
            <a:ext cx="2510972" cy="437244"/>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EPL Compute Grid</a:t>
            </a:r>
            <a:endParaRPr lang="en-IN" sz="1400"/>
          </a:p>
        </p:txBody>
      </p:sp>
      <p:sp>
        <p:nvSpPr>
          <p:cNvPr id="43" name="Rounded Rectangle 42"/>
          <p:cNvSpPr/>
          <p:nvPr/>
        </p:nvSpPr>
        <p:spPr bwMode="gray">
          <a:xfrm>
            <a:off x="2917372" y="4317093"/>
            <a:ext cx="3585028" cy="437244"/>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t>Storage only Grid (original Raw Data)</a:t>
            </a:r>
            <a:endParaRPr lang="en-IN" sz="1400"/>
          </a:p>
        </p:txBody>
      </p:sp>
      <p:sp>
        <p:nvSpPr>
          <p:cNvPr id="45" name="Rounded Rectangle 44"/>
          <p:cNvSpPr/>
          <p:nvPr/>
        </p:nvSpPr>
        <p:spPr bwMode="gray">
          <a:xfrm>
            <a:off x="2917372" y="5449208"/>
            <a:ext cx="3585028" cy="437244"/>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Collection</a:t>
            </a:r>
            <a:endParaRPr lang="en-IN" sz="1400"/>
          </a:p>
        </p:txBody>
      </p:sp>
      <p:sp>
        <p:nvSpPr>
          <p:cNvPr id="3" name="Rectangle 2"/>
          <p:cNvSpPr/>
          <p:nvPr/>
        </p:nvSpPr>
        <p:spPr bwMode="gray">
          <a:xfrm>
            <a:off x="5964544" y="2298044"/>
            <a:ext cx="1191162" cy="830997"/>
          </a:xfrm>
          <a:prstGeom prst="rect">
            <a:avLst/>
          </a:prstGeom>
        </p:spPr>
        <p:txBody>
          <a:bodyPr wrap="square">
            <a:spAutoFit/>
          </a:bodyPr>
          <a:lstStyle/>
          <a:p>
            <a:r>
              <a:rPr lang="en-US" sz="1200" smtClean="0"/>
              <a:t>1. Can’t explore original high fidelity raw </a:t>
            </a:r>
            <a:r>
              <a:rPr lang="en-IN" sz="1200" smtClean="0"/>
              <a:t>data.</a:t>
            </a:r>
            <a:endParaRPr lang="en-IN" sz="1200"/>
          </a:p>
        </p:txBody>
      </p:sp>
      <p:sp>
        <p:nvSpPr>
          <p:cNvPr id="13" name="Rectangle 12"/>
          <p:cNvSpPr/>
          <p:nvPr/>
        </p:nvSpPr>
        <p:spPr bwMode="gray">
          <a:xfrm>
            <a:off x="4002647" y="3584281"/>
            <a:ext cx="1966354" cy="461665"/>
          </a:xfrm>
          <a:prstGeom prst="rect">
            <a:avLst/>
          </a:prstGeom>
        </p:spPr>
        <p:txBody>
          <a:bodyPr wrap="square">
            <a:spAutoFit/>
          </a:bodyPr>
          <a:lstStyle/>
          <a:p>
            <a:r>
              <a:rPr lang="en-US" sz="1200"/>
              <a:t>2. Moving data to compute </a:t>
            </a:r>
            <a:r>
              <a:rPr lang="en-US" sz="1200" smtClean="0"/>
              <a:t>doesn’t scale</a:t>
            </a:r>
            <a:endParaRPr lang="en-IN" sz="1200"/>
          </a:p>
        </p:txBody>
      </p:sp>
      <p:sp>
        <p:nvSpPr>
          <p:cNvPr id="14" name="Rectangle 13"/>
          <p:cNvSpPr/>
          <p:nvPr/>
        </p:nvSpPr>
        <p:spPr bwMode="gray">
          <a:xfrm>
            <a:off x="3688248" y="5015542"/>
            <a:ext cx="1135119" cy="276999"/>
          </a:xfrm>
          <a:prstGeom prst="rect">
            <a:avLst/>
          </a:prstGeom>
        </p:spPr>
        <p:txBody>
          <a:bodyPr wrap="none">
            <a:spAutoFit/>
          </a:bodyPr>
          <a:lstStyle/>
          <a:p>
            <a:r>
              <a:rPr lang="en-US" sz="1200" smtClean="0"/>
              <a:t>Mostly Append</a:t>
            </a:r>
            <a:endParaRPr lang="en-IN" sz="1200"/>
          </a:p>
        </p:txBody>
      </p:sp>
      <p:sp>
        <p:nvSpPr>
          <p:cNvPr id="15" name="Rectangle 14"/>
          <p:cNvSpPr/>
          <p:nvPr/>
        </p:nvSpPr>
        <p:spPr bwMode="gray">
          <a:xfrm>
            <a:off x="7219587" y="4588763"/>
            <a:ext cx="1010013" cy="461665"/>
          </a:xfrm>
          <a:prstGeom prst="rect">
            <a:avLst/>
          </a:prstGeom>
        </p:spPr>
        <p:txBody>
          <a:bodyPr wrap="square">
            <a:spAutoFit/>
          </a:bodyPr>
          <a:lstStyle/>
          <a:p>
            <a:r>
              <a:rPr lang="en-US" sz="1200" smtClean="0"/>
              <a:t>3. Premature </a:t>
            </a:r>
            <a:r>
              <a:rPr lang="en-US" sz="1200"/>
              <a:t>data </a:t>
            </a:r>
            <a:r>
              <a:rPr lang="en-US" sz="1200" smtClean="0"/>
              <a:t>death</a:t>
            </a:r>
            <a:endParaRPr lang="en-IN" sz="1200"/>
          </a:p>
        </p:txBody>
      </p:sp>
      <p:grpSp>
        <p:nvGrpSpPr>
          <p:cNvPr id="4" name="Group 2"/>
          <p:cNvGrpSpPr>
            <a:grpSpLocks/>
          </p:cNvGrpSpPr>
          <p:nvPr/>
        </p:nvGrpSpPr>
        <p:grpSpPr bwMode="gray">
          <a:xfrm>
            <a:off x="6135946" y="3210256"/>
            <a:ext cx="243589" cy="1063257"/>
            <a:chOff x="17229" y="-2006"/>
            <a:chExt cx="687" cy="2991"/>
          </a:xfrm>
        </p:grpSpPr>
        <p:grpSp>
          <p:nvGrpSpPr>
            <p:cNvPr id="5" name="Group 3"/>
            <p:cNvGrpSpPr>
              <a:grpSpLocks/>
            </p:cNvGrpSpPr>
            <p:nvPr/>
          </p:nvGrpSpPr>
          <p:grpSpPr bwMode="gray">
            <a:xfrm>
              <a:off x="17448" y="-1996"/>
              <a:ext cx="187" cy="2971"/>
              <a:chOff x="17448" y="-1996"/>
              <a:chExt cx="187" cy="2971"/>
            </a:xfrm>
          </p:grpSpPr>
          <p:sp>
            <p:nvSpPr>
              <p:cNvPr id="10" name="Freeform 4"/>
              <p:cNvSpPr>
                <a:spLocks/>
              </p:cNvSpPr>
              <p:nvPr/>
            </p:nvSpPr>
            <p:spPr bwMode="gray">
              <a:xfrm>
                <a:off x="17448" y="-1996"/>
                <a:ext cx="187" cy="2971"/>
              </a:xfrm>
              <a:custGeom>
                <a:avLst/>
                <a:gdLst>
                  <a:gd name="T0" fmla="+- 0 17635 17448"/>
                  <a:gd name="T1" fmla="*/ T0 w 187"/>
                  <a:gd name="T2" fmla="+- 0 -1871 -1996"/>
                  <a:gd name="T3" fmla="*/ -1871 h 2971"/>
                  <a:gd name="T4" fmla="+- 0 17510 17448"/>
                  <a:gd name="T5" fmla="*/ T4 w 187"/>
                  <a:gd name="T6" fmla="+- 0 -1871 -1996"/>
                  <a:gd name="T7" fmla="*/ -1871 h 2971"/>
                  <a:gd name="T8" fmla="+- 0 17510 17448"/>
                  <a:gd name="T9" fmla="*/ T8 w 187"/>
                  <a:gd name="T10" fmla="+- 0 975 -1996"/>
                  <a:gd name="T11" fmla="*/ 975 h 2971"/>
                  <a:gd name="T12" fmla="+- 0 17635 17448"/>
                  <a:gd name="T13" fmla="*/ T12 w 187"/>
                  <a:gd name="T14" fmla="+- 0 975 -1996"/>
                  <a:gd name="T15" fmla="*/ 975 h 2971"/>
                  <a:gd name="T16" fmla="+- 0 17635 17448"/>
                  <a:gd name="T17" fmla="*/ T16 w 187"/>
                  <a:gd name="T18" fmla="+- 0 -1871 -1996"/>
                  <a:gd name="T19" fmla="*/ -1871 h 2971"/>
                </a:gdLst>
                <a:ahLst/>
                <a:cxnLst>
                  <a:cxn ang="0">
                    <a:pos x="T1" y="T3"/>
                  </a:cxn>
                  <a:cxn ang="0">
                    <a:pos x="T5" y="T7"/>
                  </a:cxn>
                  <a:cxn ang="0">
                    <a:pos x="T9" y="T11"/>
                  </a:cxn>
                  <a:cxn ang="0">
                    <a:pos x="T13" y="T15"/>
                  </a:cxn>
                  <a:cxn ang="0">
                    <a:pos x="T17" y="T19"/>
                  </a:cxn>
                </a:cxnLst>
                <a:rect l="0" t="0" r="r" b="b"/>
                <a:pathLst>
                  <a:path w="187" h="2971">
                    <a:moveTo>
                      <a:pt x="187" y="125"/>
                    </a:moveTo>
                    <a:lnTo>
                      <a:pt x="62" y="125"/>
                    </a:lnTo>
                    <a:lnTo>
                      <a:pt x="62" y="2971"/>
                    </a:lnTo>
                    <a:lnTo>
                      <a:pt x="187" y="2971"/>
                    </a:lnTo>
                    <a:lnTo>
                      <a:pt x="187" y="125"/>
                    </a:lnTo>
                  </a:path>
                </a:pathLst>
              </a:custGeom>
              <a:solidFill>
                <a:srgbClr val="000000"/>
              </a:solidFill>
              <a:ln w="9525">
                <a:no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11" name="Freeform 5"/>
              <p:cNvSpPr>
                <a:spLocks/>
              </p:cNvSpPr>
              <p:nvPr/>
            </p:nvSpPr>
            <p:spPr bwMode="gray">
              <a:xfrm>
                <a:off x="17448" y="-1996"/>
                <a:ext cx="187" cy="2971"/>
              </a:xfrm>
              <a:custGeom>
                <a:avLst/>
                <a:gdLst>
                  <a:gd name="T0" fmla="+- 0 17573 17448"/>
                  <a:gd name="T1" fmla="*/ T0 w 187"/>
                  <a:gd name="T2" fmla="+- 0 -1996 -1996"/>
                  <a:gd name="T3" fmla="*/ -1996 h 2971"/>
                  <a:gd name="T4" fmla="+- 0 17448 17448"/>
                  <a:gd name="T5" fmla="*/ T4 w 187"/>
                  <a:gd name="T6" fmla="+- 0 -1871 -1996"/>
                  <a:gd name="T7" fmla="*/ -1871 h 2971"/>
                  <a:gd name="T8" fmla="+- 0 17698 17448"/>
                  <a:gd name="T9" fmla="*/ T8 w 187"/>
                  <a:gd name="T10" fmla="+- 0 -1871 -1996"/>
                  <a:gd name="T11" fmla="*/ -1871 h 2971"/>
                  <a:gd name="T12" fmla="+- 0 17573 17448"/>
                  <a:gd name="T13" fmla="*/ T12 w 187"/>
                  <a:gd name="T14" fmla="+- 0 -1996 -1996"/>
                  <a:gd name="T15" fmla="*/ -1996 h 2971"/>
                </a:gdLst>
                <a:ahLst/>
                <a:cxnLst>
                  <a:cxn ang="0">
                    <a:pos x="T1" y="T3"/>
                  </a:cxn>
                  <a:cxn ang="0">
                    <a:pos x="T5" y="T7"/>
                  </a:cxn>
                  <a:cxn ang="0">
                    <a:pos x="T9" y="T11"/>
                  </a:cxn>
                  <a:cxn ang="0">
                    <a:pos x="T13" y="T15"/>
                  </a:cxn>
                </a:cxnLst>
                <a:rect l="0" t="0" r="r" b="b"/>
                <a:pathLst>
                  <a:path w="187" h="2971">
                    <a:moveTo>
                      <a:pt x="125" y="0"/>
                    </a:moveTo>
                    <a:lnTo>
                      <a:pt x="0" y="125"/>
                    </a:lnTo>
                    <a:lnTo>
                      <a:pt x="250" y="125"/>
                    </a:lnTo>
                    <a:lnTo>
                      <a:pt x="125" y="0"/>
                    </a:lnTo>
                  </a:path>
                </a:pathLst>
              </a:custGeom>
              <a:solidFill>
                <a:srgbClr val="000000"/>
              </a:solidFill>
              <a:ln w="9525">
                <a:noFill/>
                <a:round/>
                <a:headEnd/>
                <a:tailEnd/>
              </a:ln>
              <a:extLst/>
            </p:spPr>
            <p:txBody>
              <a:bodyPr vert="horz" wrap="square" lIns="91440" tIns="45720" rIns="91440" bIns="45720" numCol="1" anchor="t" anchorCtr="0" compatLnSpc="1">
                <a:prstTxWarp prst="textNoShape">
                  <a:avLst/>
                </a:prstTxWarp>
              </a:bodyPr>
              <a:lstStyle/>
              <a:p>
                <a:endParaRPr lang="en-IN"/>
              </a:p>
            </p:txBody>
          </p:sp>
        </p:grpSp>
        <p:grpSp>
          <p:nvGrpSpPr>
            <p:cNvPr id="6" name="Group 6"/>
            <p:cNvGrpSpPr>
              <a:grpSpLocks/>
            </p:cNvGrpSpPr>
            <p:nvPr/>
          </p:nvGrpSpPr>
          <p:grpSpPr bwMode="gray">
            <a:xfrm>
              <a:off x="17239" y="-1523"/>
              <a:ext cx="667" cy="595"/>
              <a:chOff x="17239" y="-1523"/>
              <a:chExt cx="667" cy="595"/>
            </a:xfrm>
          </p:grpSpPr>
          <p:sp>
            <p:nvSpPr>
              <p:cNvPr id="7" name="Freeform 7"/>
              <p:cNvSpPr>
                <a:spLocks/>
              </p:cNvSpPr>
              <p:nvPr/>
            </p:nvSpPr>
            <p:spPr bwMode="gray">
              <a:xfrm>
                <a:off x="17239" y="-1523"/>
                <a:ext cx="667" cy="595"/>
              </a:xfrm>
              <a:custGeom>
                <a:avLst/>
                <a:gdLst>
                  <a:gd name="T0" fmla="+- 0 17906 17239"/>
                  <a:gd name="T1" fmla="*/ T0 w 667"/>
                  <a:gd name="T2" fmla="+- 0 -1296 -1523"/>
                  <a:gd name="T3" fmla="*/ -1296 h 595"/>
                  <a:gd name="T4" fmla="+- 0 17239 17239"/>
                  <a:gd name="T5" fmla="*/ T4 w 667"/>
                  <a:gd name="T6" fmla="+- 0 -1296 -1523"/>
                  <a:gd name="T7" fmla="*/ -1296 h 595"/>
                  <a:gd name="T8" fmla="+- 0 17445 17239"/>
                  <a:gd name="T9" fmla="*/ T8 w 667"/>
                  <a:gd name="T10" fmla="+- 0 -1156 -1523"/>
                  <a:gd name="T11" fmla="*/ -1156 h 595"/>
                  <a:gd name="T12" fmla="+- 0 17367 17239"/>
                  <a:gd name="T13" fmla="*/ T12 w 667"/>
                  <a:gd name="T14" fmla="+- 0 -928 -1523"/>
                  <a:gd name="T15" fmla="*/ -928 h 595"/>
                  <a:gd name="T16" fmla="+- 0 17573 17239"/>
                  <a:gd name="T17" fmla="*/ T16 w 667"/>
                  <a:gd name="T18" fmla="+- 0 -1069 -1523"/>
                  <a:gd name="T19" fmla="*/ -1069 h 595"/>
                  <a:gd name="T20" fmla="+- 0 17730 17239"/>
                  <a:gd name="T21" fmla="*/ T20 w 667"/>
                  <a:gd name="T22" fmla="+- 0 -1069 -1523"/>
                  <a:gd name="T23" fmla="*/ -1069 h 595"/>
                  <a:gd name="T24" fmla="+- 0 17700 17239"/>
                  <a:gd name="T25" fmla="*/ T24 w 667"/>
                  <a:gd name="T26" fmla="+- 0 -1156 -1523"/>
                  <a:gd name="T27" fmla="*/ -1156 h 595"/>
                  <a:gd name="T28" fmla="+- 0 17906 17239"/>
                  <a:gd name="T29" fmla="*/ T28 w 667"/>
                  <a:gd name="T30" fmla="+- 0 -1296 -1523"/>
                  <a:gd name="T31" fmla="*/ -1296 h 595"/>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667" h="595">
                    <a:moveTo>
                      <a:pt x="667" y="227"/>
                    </a:moveTo>
                    <a:lnTo>
                      <a:pt x="0" y="227"/>
                    </a:lnTo>
                    <a:lnTo>
                      <a:pt x="206" y="367"/>
                    </a:lnTo>
                    <a:lnTo>
                      <a:pt x="128" y="595"/>
                    </a:lnTo>
                    <a:lnTo>
                      <a:pt x="334" y="454"/>
                    </a:lnTo>
                    <a:lnTo>
                      <a:pt x="491" y="454"/>
                    </a:lnTo>
                    <a:lnTo>
                      <a:pt x="461" y="367"/>
                    </a:lnTo>
                    <a:lnTo>
                      <a:pt x="667" y="227"/>
                    </a:lnTo>
                  </a:path>
                </a:pathLst>
              </a:custGeom>
              <a:solidFill>
                <a:srgbClr val="FF0000"/>
              </a:solid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8" name="Freeform 8"/>
              <p:cNvSpPr>
                <a:spLocks/>
              </p:cNvSpPr>
              <p:nvPr/>
            </p:nvSpPr>
            <p:spPr bwMode="gray">
              <a:xfrm>
                <a:off x="17239" y="-1523"/>
                <a:ext cx="667" cy="595"/>
              </a:xfrm>
              <a:custGeom>
                <a:avLst/>
                <a:gdLst>
                  <a:gd name="T0" fmla="+- 0 17730 17239"/>
                  <a:gd name="T1" fmla="*/ T0 w 667"/>
                  <a:gd name="T2" fmla="+- 0 -1069 -1523"/>
                  <a:gd name="T3" fmla="*/ -1069 h 595"/>
                  <a:gd name="T4" fmla="+- 0 17573 17239"/>
                  <a:gd name="T5" fmla="*/ T4 w 667"/>
                  <a:gd name="T6" fmla="+- 0 -1069 -1523"/>
                  <a:gd name="T7" fmla="*/ -1069 h 595"/>
                  <a:gd name="T8" fmla="+- 0 17779 17239"/>
                  <a:gd name="T9" fmla="*/ T8 w 667"/>
                  <a:gd name="T10" fmla="+- 0 -928 -1523"/>
                  <a:gd name="T11" fmla="*/ -928 h 595"/>
                  <a:gd name="T12" fmla="+- 0 17730 17239"/>
                  <a:gd name="T13" fmla="*/ T12 w 667"/>
                  <a:gd name="T14" fmla="+- 0 -1069 -1523"/>
                  <a:gd name="T15" fmla="*/ -1069 h 595"/>
                </a:gdLst>
                <a:ahLst/>
                <a:cxnLst>
                  <a:cxn ang="0">
                    <a:pos x="T1" y="T3"/>
                  </a:cxn>
                  <a:cxn ang="0">
                    <a:pos x="T5" y="T7"/>
                  </a:cxn>
                  <a:cxn ang="0">
                    <a:pos x="T9" y="T11"/>
                  </a:cxn>
                  <a:cxn ang="0">
                    <a:pos x="T13" y="T15"/>
                  </a:cxn>
                </a:cxnLst>
                <a:rect l="0" t="0" r="r" b="b"/>
                <a:pathLst>
                  <a:path w="667" h="595">
                    <a:moveTo>
                      <a:pt x="491" y="454"/>
                    </a:moveTo>
                    <a:lnTo>
                      <a:pt x="334" y="454"/>
                    </a:lnTo>
                    <a:lnTo>
                      <a:pt x="540" y="595"/>
                    </a:lnTo>
                    <a:lnTo>
                      <a:pt x="491" y="454"/>
                    </a:lnTo>
                  </a:path>
                </a:pathLst>
              </a:custGeom>
              <a:solidFill>
                <a:srgbClr val="FF0000"/>
              </a:solid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9" name="Freeform 9"/>
              <p:cNvSpPr>
                <a:spLocks/>
              </p:cNvSpPr>
              <p:nvPr/>
            </p:nvSpPr>
            <p:spPr bwMode="gray">
              <a:xfrm>
                <a:off x="17239" y="-1523"/>
                <a:ext cx="667" cy="595"/>
              </a:xfrm>
              <a:custGeom>
                <a:avLst/>
                <a:gdLst>
                  <a:gd name="T0" fmla="+- 0 17573 17239"/>
                  <a:gd name="T1" fmla="*/ T0 w 667"/>
                  <a:gd name="T2" fmla="+- 0 -1523 -1523"/>
                  <a:gd name="T3" fmla="*/ -1523 h 595"/>
                  <a:gd name="T4" fmla="+- 0 17494 17239"/>
                  <a:gd name="T5" fmla="*/ T4 w 667"/>
                  <a:gd name="T6" fmla="+- 0 -1296 -1523"/>
                  <a:gd name="T7" fmla="*/ -1296 h 595"/>
                  <a:gd name="T8" fmla="+- 0 17652 17239"/>
                  <a:gd name="T9" fmla="*/ T8 w 667"/>
                  <a:gd name="T10" fmla="+- 0 -1296 -1523"/>
                  <a:gd name="T11" fmla="*/ -1296 h 595"/>
                  <a:gd name="T12" fmla="+- 0 17573 17239"/>
                  <a:gd name="T13" fmla="*/ T12 w 667"/>
                  <a:gd name="T14" fmla="+- 0 -1523 -1523"/>
                  <a:gd name="T15" fmla="*/ -1523 h 595"/>
                </a:gdLst>
                <a:ahLst/>
                <a:cxnLst>
                  <a:cxn ang="0">
                    <a:pos x="T1" y="T3"/>
                  </a:cxn>
                  <a:cxn ang="0">
                    <a:pos x="T5" y="T7"/>
                  </a:cxn>
                  <a:cxn ang="0">
                    <a:pos x="T9" y="T11"/>
                  </a:cxn>
                  <a:cxn ang="0">
                    <a:pos x="T13" y="T15"/>
                  </a:cxn>
                </a:cxnLst>
                <a:rect l="0" t="0" r="r" b="b"/>
                <a:pathLst>
                  <a:path w="667" h="595">
                    <a:moveTo>
                      <a:pt x="334" y="0"/>
                    </a:moveTo>
                    <a:lnTo>
                      <a:pt x="255" y="227"/>
                    </a:lnTo>
                    <a:lnTo>
                      <a:pt x="413" y="227"/>
                    </a:lnTo>
                    <a:lnTo>
                      <a:pt x="334" y="0"/>
                    </a:lnTo>
                  </a:path>
                </a:pathLst>
              </a:custGeom>
              <a:solidFill>
                <a:srgbClr val="FF0000"/>
              </a:solid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p>
                <a:endParaRPr lang="en-IN"/>
              </a:p>
            </p:txBody>
          </p:sp>
        </p:grpSp>
      </p:grpSp>
      <p:grpSp>
        <p:nvGrpSpPr>
          <p:cNvPr id="28" name="Group 2"/>
          <p:cNvGrpSpPr>
            <a:grpSpLocks/>
          </p:cNvGrpSpPr>
          <p:nvPr/>
        </p:nvGrpSpPr>
        <p:grpSpPr bwMode="gray">
          <a:xfrm>
            <a:off x="3796783" y="3686175"/>
            <a:ext cx="151609" cy="661766"/>
            <a:chOff x="17229" y="-2006"/>
            <a:chExt cx="687" cy="2991"/>
          </a:xfrm>
        </p:grpSpPr>
        <p:grpSp>
          <p:nvGrpSpPr>
            <p:cNvPr id="29" name="Group 3"/>
            <p:cNvGrpSpPr>
              <a:grpSpLocks/>
            </p:cNvGrpSpPr>
            <p:nvPr/>
          </p:nvGrpSpPr>
          <p:grpSpPr bwMode="gray">
            <a:xfrm>
              <a:off x="17448" y="-1996"/>
              <a:ext cx="187" cy="2971"/>
              <a:chOff x="17448" y="-1996"/>
              <a:chExt cx="187" cy="2971"/>
            </a:xfrm>
          </p:grpSpPr>
          <p:sp>
            <p:nvSpPr>
              <p:cNvPr id="34" name="Freeform 4"/>
              <p:cNvSpPr>
                <a:spLocks/>
              </p:cNvSpPr>
              <p:nvPr/>
            </p:nvSpPr>
            <p:spPr bwMode="gray">
              <a:xfrm>
                <a:off x="17448" y="-1996"/>
                <a:ext cx="187" cy="2971"/>
              </a:xfrm>
              <a:custGeom>
                <a:avLst/>
                <a:gdLst>
                  <a:gd name="T0" fmla="+- 0 17635 17448"/>
                  <a:gd name="T1" fmla="*/ T0 w 187"/>
                  <a:gd name="T2" fmla="+- 0 -1871 -1996"/>
                  <a:gd name="T3" fmla="*/ -1871 h 2971"/>
                  <a:gd name="T4" fmla="+- 0 17510 17448"/>
                  <a:gd name="T5" fmla="*/ T4 w 187"/>
                  <a:gd name="T6" fmla="+- 0 -1871 -1996"/>
                  <a:gd name="T7" fmla="*/ -1871 h 2971"/>
                  <a:gd name="T8" fmla="+- 0 17510 17448"/>
                  <a:gd name="T9" fmla="*/ T8 w 187"/>
                  <a:gd name="T10" fmla="+- 0 975 -1996"/>
                  <a:gd name="T11" fmla="*/ 975 h 2971"/>
                  <a:gd name="T12" fmla="+- 0 17635 17448"/>
                  <a:gd name="T13" fmla="*/ T12 w 187"/>
                  <a:gd name="T14" fmla="+- 0 975 -1996"/>
                  <a:gd name="T15" fmla="*/ 975 h 2971"/>
                  <a:gd name="T16" fmla="+- 0 17635 17448"/>
                  <a:gd name="T17" fmla="*/ T16 w 187"/>
                  <a:gd name="T18" fmla="+- 0 -1871 -1996"/>
                  <a:gd name="T19" fmla="*/ -1871 h 2971"/>
                </a:gdLst>
                <a:ahLst/>
                <a:cxnLst>
                  <a:cxn ang="0">
                    <a:pos x="T1" y="T3"/>
                  </a:cxn>
                  <a:cxn ang="0">
                    <a:pos x="T5" y="T7"/>
                  </a:cxn>
                  <a:cxn ang="0">
                    <a:pos x="T9" y="T11"/>
                  </a:cxn>
                  <a:cxn ang="0">
                    <a:pos x="T13" y="T15"/>
                  </a:cxn>
                  <a:cxn ang="0">
                    <a:pos x="T17" y="T19"/>
                  </a:cxn>
                </a:cxnLst>
                <a:rect l="0" t="0" r="r" b="b"/>
                <a:pathLst>
                  <a:path w="187" h="2971">
                    <a:moveTo>
                      <a:pt x="187" y="125"/>
                    </a:moveTo>
                    <a:lnTo>
                      <a:pt x="62" y="125"/>
                    </a:lnTo>
                    <a:lnTo>
                      <a:pt x="62" y="2971"/>
                    </a:lnTo>
                    <a:lnTo>
                      <a:pt x="187" y="2971"/>
                    </a:lnTo>
                    <a:lnTo>
                      <a:pt x="187" y="125"/>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 name="Freeform 5"/>
              <p:cNvSpPr>
                <a:spLocks/>
              </p:cNvSpPr>
              <p:nvPr/>
            </p:nvSpPr>
            <p:spPr bwMode="gray">
              <a:xfrm>
                <a:off x="17448" y="-1996"/>
                <a:ext cx="187" cy="2971"/>
              </a:xfrm>
              <a:custGeom>
                <a:avLst/>
                <a:gdLst>
                  <a:gd name="T0" fmla="+- 0 17573 17448"/>
                  <a:gd name="T1" fmla="*/ T0 w 187"/>
                  <a:gd name="T2" fmla="+- 0 -1996 -1996"/>
                  <a:gd name="T3" fmla="*/ -1996 h 2971"/>
                  <a:gd name="T4" fmla="+- 0 17448 17448"/>
                  <a:gd name="T5" fmla="*/ T4 w 187"/>
                  <a:gd name="T6" fmla="+- 0 -1871 -1996"/>
                  <a:gd name="T7" fmla="*/ -1871 h 2971"/>
                  <a:gd name="T8" fmla="+- 0 17698 17448"/>
                  <a:gd name="T9" fmla="*/ T8 w 187"/>
                  <a:gd name="T10" fmla="+- 0 -1871 -1996"/>
                  <a:gd name="T11" fmla="*/ -1871 h 2971"/>
                  <a:gd name="T12" fmla="+- 0 17573 17448"/>
                  <a:gd name="T13" fmla="*/ T12 w 187"/>
                  <a:gd name="T14" fmla="+- 0 -1996 -1996"/>
                  <a:gd name="T15" fmla="*/ -1996 h 2971"/>
                </a:gdLst>
                <a:ahLst/>
                <a:cxnLst>
                  <a:cxn ang="0">
                    <a:pos x="T1" y="T3"/>
                  </a:cxn>
                  <a:cxn ang="0">
                    <a:pos x="T5" y="T7"/>
                  </a:cxn>
                  <a:cxn ang="0">
                    <a:pos x="T9" y="T11"/>
                  </a:cxn>
                  <a:cxn ang="0">
                    <a:pos x="T13" y="T15"/>
                  </a:cxn>
                </a:cxnLst>
                <a:rect l="0" t="0" r="r" b="b"/>
                <a:pathLst>
                  <a:path w="187" h="2971">
                    <a:moveTo>
                      <a:pt x="125" y="0"/>
                    </a:moveTo>
                    <a:lnTo>
                      <a:pt x="0" y="125"/>
                    </a:lnTo>
                    <a:lnTo>
                      <a:pt x="250" y="125"/>
                    </a:lnTo>
                    <a:lnTo>
                      <a:pt x="125" y="0"/>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30" name="Group 6"/>
            <p:cNvGrpSpPr>
              <a:grpSpLocks/>
            </p:cNvGrpSpPr>
            <p:nvPr/>
          </p:nvGrpSpPr>
          <p:grpSpPr bwMode="gray">
            <a:xfrm>
              <a:off x="17239" y="-1523"/>
              <a:ext cx="667" cy="595"/>
              <a:chOff x="17239" y="-1523"/>
              <a:chExt cx="667" cy="595"/>
            </a:xfrm>
          </p:grpSpPr>
          <p:sp>
            <p:nvSpPr>
              <p:cNvPr id="31" name="Freeform 7"/>
              <p:cNvSpPr>
                <a:spLocks/>
              </p:cNvSpPr>
              <p:nvPr/>
            </p:nvSpPr>
            <p:spPr bwMode="gray">
              <a:xfrm>
                <a:off x="17239" y="-1523"/>
                <a:ext cx="667" cy="595"/>
              </a:xfrm>
              <a:custGeom>
                <a:avLst/>
                <a:gdLst>
                  <a:gd name="T0" fmla="+- 0 17906 17239"/>
                  <a:gd name="T1" fmla="*/ T0 w 667"/>
                  <a:gd name="T2" fmla="+- 0 -1296 -1523"/>
                  <a:gd name="T3" fmla="*/ -1296 h 595"/>
                  <a:gd name="T4" fmla="+- 0 17239 17239"/>
                  <a:gd name="T5" fmla="*/ T4 w 667"/>
                  <a:gd name="T6" fmla="+- 0 -1296 -1523"/>
                  <a:gd name="T7" fmla="*/ -1296 h 595"/>
                  <a:gd name="T8" fmla="+- 0 17445 17239"/>
                  <a:gd name="T9" fmla="*/ T8 w 667"/>
                  <a:gd name="T10" fmla="+- 0 -1156 -1523"/>
                  <a:gd name="T11" fmla="*/ -1156 h 595"/>
                  <a:gd name="T12" fmla="+- 0 17367 17239"/>
                  <a:gd name="T13" fmla="*/ T12 w 667"/>
                  <a:gd name="T14" fmla="+- 0 -928 -1523"/>
                  <a:gd name="T15" fmla="*/ -928 h 595"/>
                  <a:gd name="T16" fmla="+- 0 17573 17239"/>
                  <a:gd name="T17" fmla="*/ T16 w 667"/>
                  <a:gd name="T18" fmla="+- 0 -1069 -1523"/>
                  <a:gd name="T19" fmla="*/ -1069 h 595"/>
                  <a:gd name="T20" fmla="+- 0 17730 17239"/>
                  <a:gd name="T21" fmla="*/ T20 w 667"/>
                  <a:gd name="T22" fmla="+- 0 -1069 -1523"/>
                  <a:gd name="T23" fmla="*/ -1069 h 595"/>
                  <a:gd name="T24" fmla="+- 0 17700 17239"/>
                  <a:gd name="T25" fmla="*/ T24 w 667"/>
                  <a:gd name="T26" fmla="+- 0 -1156 -1523"/>
                  <a:gd name="T27" fmla="*/ -1156 h 595"/>
                  <a:gd name="T28" fmla="+- 0 17906 17239"/>
                  <a:gd name="T29" fmla="*/ T28 w 667"/>
                  <a:gd name="T30" fmla="+- 0 -1296 -1523"/>
                  <a:gd name="T31" fmla="*/ -1296 h 595"/>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667" h="595">
                    <a:moveTo>
                      <a:pt x="667" y="227"/>
                    </a:moveTo>
                    <a:lnTo>
                      <a:pt x="0" y="227"/>
                    </a:lnTo>
                    <a:lnTo>
                      <a:pt x="206" y="367"/>
                    </a:lnTo>
                    <a:lnTo>
                      <a:pt x="128" y="595"/>
                    </a:lnTo>
                    <a:lnTo>
                      <a:pt x="334" y="454"/>
                    </a:lnTo>
                    <a:lnTo>
                      <a:pt x="491" y="454"/>
                    </a:lnTo>
                    <a:lnTo>
                      <a:pt x="461" y="367"/>
                    </a:lnTo>
                    <a:lnTo>
                      <a:pt x="667" y="227"/>
                    </a:lnTo>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2" name="Freeform 8"/>
              <p:cNvSpPr>
                <a:spLocks/>
              </p:cNvSpPr>
              <p:nvPr/>
            </p:nvSpPr>
            <p:spPr bwMode="gray">
              <a:xfrm>
                <a:off x="17239" y="-1523"/>
                <a:ext cx="667" cy="595"/>
              </a:xfrm>
              <a:custGeom>
                <a:avLst/>
                <a:gdLst>
                  <a:gd name="T0" fmla="+- 0 17730 17239"/>
                  <a:gd name="T1" fmla="*/ T0 w 667"/>
                  <a:gd name="T2" fmla="+- 0 -1069 -1523"/>
                  <a:gd name="T3" fmla="*/ -1069 h 595"/>
                  <a:gd name="T4" fmla="+- 0 17573 17239"/>
                  <a:gd name="T5" fmla="*/ T4 w 667"/>
                  <a:gd name="T6" fmla="+- 0 -1069 -1523"/>
                  <a:gd name="T7" fmla="*/ -1069 h 595"/>
                  <a:gd name="T8" fmla="+- 0 17779 17239"/>
                  <a:gd name="T9" fmla="*/ T8 w 667"/>
                  <a:gd name="T10" fmla="+- 0 -928 -1523"/>
                  <a:gd name="T11" fmla="*/ -928 h 595"/>
                  <a:gd name="T12" fmla="+- 0 17730 17239"/>
                  <a:gd name="T13" fmla="*/ T12 w 667"/>
                  <a:gd name="T14" fmla="+- 0 -1069 -1523"/>
                  <a:gd name="T15" fmla="*/ -1069 h 595"/>
                </a:gdLst>
                <a:ahLst/>
                <a:cxnLst>
                  <a:cxn ang="0">
                    <a:pos x="T1" y="T3"/>
                  </a:cxn>
                  <a:cxn ang="0">
                    <a:pos x="T5" y="T7"/>
                  </a:cxn>
                  <a:cxn ang="0">
                    <a:pos x="T9" y="T11"/>
                  </a:cxn>
                  <a:cxn ang="0">
                    <a:pos x="T13" y="T15"/>
                  </a:cxn>
                </a:cxnLst>
                <a:rect l="0" t="0" r="r" b="b"/>
                <a:pathLst>
                  <a:path w="667" h="595">
                    <a:moveTo>
                      <a:pt x="491" y="454"/>
                    </a:moveTo>
                    <a:lnTo>
                      <a:pt x="334" y="454"/>
                    </a:lnTo>
                    <a:lnTo>
                      <a:pt x="540" y="595"/>
                    </a:lnTo>
                    <a:lnTo>
                      <a:pt x="491" y="454"/>
                    </a:lnTo>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 name="Freeform 9"/>
              <p:cNvSpPr>
                <a:spLocks/>
              </p:cNvSpPr>
              <p:nvPr/>
            </p:nvSpPr>
            <p:spPr bwMode="gray">
              <a:xfrm>
                <a:off x="17239" y="-1523"/>
                <a:ext cx="667" cy="595"/>
              </a:xfrm>
              <a:custGeom>
                <a:avLst/>
                <a:gdLst>
                  <a:gd name="T0" fmla="+- 0 17573 17239"/>
                  <a:gd name="T1" fmla="*/ T0 w 667"/>
                  <a:gd name="T2" fmla="+- 0 -1523 -1523"/>
                  <a:gd name="T3" fmla="*/ -1523 h 595"/>
                  <a:gd name="T4" fmla="+- 0 17494 17239"/>
                  <a:gd name="T5" fmla="*/ T4 w 667"/>
                  <a:gd name="T6" fmla="+- 0 -1296 -1523"/>
                  <a:gd name="T7" fmla="*/ -1296 h 595"/>
                  <a:gd name="T8" fmla="+- 0 17652 17239"/>
                  <a:gd name="T9" fmla="*/ T8 w 667"/>
                  <a:gd name="T10" fmla="+- 0 -1296 -1523"/>
                  <a:gd name="T11" fmla="*/ -1296 h 595"/>
                  <a:gd name="T12" fmla="+- 0 17573 17239"/>
                  <a:gd name="T13" fmla="*/ T12 w 667"/>
                  <a:gd name="T14" fmla="+- 0 -1523 -1523"/>
                  <a:gd name="T15" fmla="*/ -1523 h 595"/>
                </a:gdLst>
                <a:ahLst/>
                <a:cxnLst>
                  <a:cxn ang="0">
                    <a:pos x="T1" y="T3"/>
                  </a:cxn>
                  <a:cxn ang="0">
                    <a:pos x="T5" y="T7"/>
                  </a:cxn>
                  <a:cxn ang="0">
                    <a:pos x="T9" y="T11"/>
                  </a:cxn>
                  <a:cxn ang="0">
                    <a:pos x="T13" y="T15"/>
                  </a:cxn>
                </a:cxnLst>
                <a:rect l="0" t="0" r="r" b="b"/>
                <a:pathLst>
                  <a:path w="667" h="595">
                    <a:moveTo>
                      <a:pt x="334" y="0"/>
                    </a:moveTo>
                    <a:lnTo>
                      <a:pt x="255" y="227"/>
                    </a:lnTo>
                    <a:lnTo>
                      <a:pt x="413" y="227"/>
                    </a:lnTo>
                    <a:lnTo>
                      <a:pt x="334" y="0"/>
                    </a:lnTo>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grpSp>
        <p:nvGrpSpPr>
          <p:cNvPr id="49" name="Group 2"/>
          <p:cNvGrpSpPr>
            <a:grpSpLocks/>
          </p:cNvGrpSpPr>
          <p:nvPr/>
        </p:nvGrpSpPr>
        <p:grpSpPr bwMode="gray">
          <a:xfrm rot="5400000">
            <a:off x="6781283" y="4384676"/>
            <a:ext cx="151609" cy="661766"/>
            <a:chOff x="17229" y="-2006"/>
            <a:chExt cx="687" cy="2991"/>
          </a:xfrm>
        </p:grpSpPr>
        <p:grpSp>
          <p:nvGrpSpPr>
            <p:cNvPr id="50" name="Group 3"/>
            <p:cNvGrpSpPr>
              <a:grpSpLocks/>
            </p:cNvGrpSpPr>
            <p:nvPr/>
          </p:nvGrpSpPr>
          <p:grpSpPr bwMode="gray">
            <a:xfrm>
              <a:off x="17448" y="-1996"/>
              <a:ext cx="187" cy="2971"/>
              <a:chOff x="17448" y="-1996"/>
              <a:chExt cx="187" cy="2971"/>
            </a:xfrm>
          </p:grpSpPr>
          <p:sp>
            <p:nvSpPr>
              <p:cNvPr id="55" name="Freeform 4"/>
              <p:cNvSpPr>
                <a:spLocks/>
              </p:cNvSpPr>
              <p:nvPr/>
            </p:nvSpPr>
            <p:spPr bwMode="gray">
              <a:xfrm>
                <a:off x="17448" y="-1996"/>
                <a:ext cx="187" cy="2971"/>
              </a:xfrm>
              <a:custGeom>
                <a:avLst/>
                <a:gdLst>
                  <a:gd name="T0" fmla="+- 0 17635 17448"/>
                  <a:gd name="T1" fmla="*/ T0 w 187"/>
                  <a:gd name="T2" fmla="+- 0 -1871 -1996"/>
                  <a:gd name="T3" fmla="*/ -1871 h 2971"/>
                  <a:gd name="T4" fmla="+- 0 17510 17448"/>
                  <a:gd name="T5" fmla="*/ T4 w 187"/>
                  <a:gd name="T6" fmla="+- 0 -1871 -1996"/>
                  <a:gd name="T7" fmla="*/ -1871 h 2971"/>
                  <a:gd name="T8" fmla="+- 0 17510 17448"/>
                  <a:gd name="T9" fmla="*/ T8 w 187"/>
                  <a:gd name="T10" fmla="+- 0 975 -1996"/>
                  <a:gd name="T11" fmla="*/ 975 h 2971"/>
                  <a:gd name="T12" fmla="+- 0 17635 17448"/>
                  <a:gd name="T13" fmla="*/ T12 w 187"/>
                  <a:gd name="T14" fmla="+- 0 975 -1996"/>
                  <a:gd name="T15" fmla="*/ 975 h 2971"/>
                  <a:gd name="T16" fmla="+- 0 17635 17448"/>
                  <a:gd name="T17" fmla="*/ T16 w 187"/>
                  <a:gd name="T18" fmla="+- 0 -1871 -1996"/>
                  <a:gd name="T19" fmla="*/ -1871 h 2971"/>
                </a:gdLst>
                <a:ahLst/>
                <a:cxnLst>
                  <a:cxn ang="0">
                    <a:pos x="T1" y="T3"/>
                  </a:cxn>
                  <a:cxn ang="0">
                    <a:pos x="T5" y="T7"/>
                  </a:cxn>
                  <a:cxn ang="0">
                    <a:pos x="T9" y="T11"/>
                  </a:cxn>
                  <a:cxn ang="0">
                    <a:pos x="T13" y="T15"/>
                  </a:cxn>
                  <a:cxn ang="0">
                    <a:pos x="T17" y="T19"/>
                  </a:cxn>
                </a:cxnLst>
                <a:rect l="0" t="0" r="r" b="b"/>
                <a:pathLst>
                  <a:path w="187" h="2971">
                    <a:moveTo>
                      <a:pt x="187" y="125"/>
                    </a:moveTo>
                    <a:lnTo>
                      <a:pt x="62" y="125"/>
                    </a:lnTo>
                    <a:lnTo>
                      <a:pt x="62" y="2971"/>
                    </a:lnTo>
                    <a:lnTo>
                      <a:pt x="187" y="2971"/>
                    </a:lnTo>
                    <a:lnTo>
                      <a:pt x="187" y="125"/>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6" name="Freeform 5"/>
              <p:cNvSpPr>
                <a:spLocks/>
              </p:cNvSpPr>
              <p:nvPr/>
            </p:nvSpPr>
            <p:spPr bwMode="gray">
              <a:xfrm>
                <a:off x="17448" y="-1996"/>
                <a:ext cx="187" cy="2971"/>
              </a:xfrm>
              <a:custGeom>
                <a:avLst/>
                <a:gdLst>
                  <a:gd name="T0" fmla="+- 0 17573 17448"/>
                  <a:gd name="T1" fmla="*/ T0 w 187"/>
                  <a:gd name="T2" fmla="+- 0 -1996 -1996"/>
                  <a:gd name="T3" fmla="*/ -1996 h 2971"/>
                  <a:gd name="T4" fmla="+- 0 17448 17448"/>
                  <a:gd name="T5" fmla="*/ T4 w 187"/>
                  <a:gd name="T6" fmla="+- 0 -1871 -1996"/>
                  <a:gd name="T7" fmla="*/ -1871 h 2971"/>
                  <a:gd name="T8" fmla="+- 0 17698 17448"/>
                  <a:gd name="T9" fmla="*/ T8 w 187"/>
                  <a:gd name="T10" fmla="+- 0 -1871 -1996"/>
                  <a:gd name="T11" fmla="*/ -1871 h 2971"/>
                  <a:gd name="T12" fmla="+- 0 17573 17448"/>
                  <a:gd name="T13" fmla="*/ T12 w 187"/>
                  <a:gd name="T14" fmla="+- 0 -1996 -1996"/>
                  <a:gd name="T15" fmla="*/ -1996 h 2971"/>
                </a:gdLst>
                <a:ahLst/>
                <a:cxnLst>
                  <a:cxn ang="0">
                    <a:pos x="T1" y="T3"/>
                  </a:cxn>
                  <a:cxn ang="0">
                    <a:pos x="T5" y="T7"/>
                  </a:cxn>
                  <a:cxn ang="0">
                    <a:pos x="T9" y="T11"/>
                  </a:cxn>
                  <a:cxn ang="0">
                    <a:pos x="T13" y="T15"/>
                  </a:cxn>
                </a:cxnLst>
                <a:rect l="0" t="0" r="r" b="b"/>
                <a:pathLst>
                  <a:path w="187" h="2971">
                    <a:moveTo>
                      <a:pt x="125" y="0"/>
                    </a:moveTo>
                    <a:lnTo>
                      <a:pt x="0" y="125"/>
                    </a:lnTo>
                    <a:lnTo>
                      <a:pt x="250" y="125"/>
                    </a:lnTo>
                    <a:lnTo>
                      <a:pt x="125" y="0"/>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51" name="Group 6"/>
            <p:cNvGrpSpPr>
              <a:grpSpLocks/>
            </p:cNvGrpSpPr>
            <p:nvPr/>
          </p:nvGrpSpPr>
          <p:grpSpPr bwMode="gray">
            <a:xfrm>
              <a:off x="17239" y="-1523"/>
              <a:ext cx="667" cy="595"/>
              <a:chOff x="17239" y="-1523"/>
              <a:chExt cx="667" cy="595"/>
            </a:xfrm>
          </p:grpSpPr>
          <p:sp>
            <p:nvSpPr>
              <p:cNvPr id="52" name="Freeform 7"/>
              <p:cNvSpPr>
                <a:spLocks/>
              </p:cNvSpPr>
              <p:nvPr/>
            </p:nvSpPr>
            <p:spPr bwMode="gray">
              <a:xfrm>
                <a:off x="17239" y="-1523"/>
                <a:ext cx="667" cy="595"/>
              </a:xfrm>
              <a:custGeom>
                <a:avLst/>
                <a:gdLst>
                  <a:gd name="T0" fmla="+- 0 17906 17239"/>
                  <a:gd name="T1" fmla="*/ T0 w 667"/>
                  <a:gd name="T2" fmla="+- 0 -1296 -1523"/>
                  <a:gd name="T3" fmla="*/ -1296 h 595"/>
                  <a:gd name="T4" fmla="+- 0 17239 17239"/>
                  <a:gd name="T5" fmla="*/ T4 w 667"/>
                  <a:gd name="T6" fmla="+- 0 -1296 -1523"/>
                  <a:gd name="T7" fmla="*/ -1296 h 595"/>
                  <a:gd name="T8" fmla="+- 0 17445 17239"/>
                  <a:gd name="T9" fmla="*/ T8 w 667"/>
                  <a:gd name="T10" fmla="+- 0 -1156 -1523"/>
                  <a:gd name="T11" fmla="*/ -1156 h 595"/>
                  <a:gd name="T12" fmla="+- 0 17367 17239"/>
                  <a:gd name="T13" fmla="*/ T12 w 667"/>
                  <a:gd name="T14" fmla="+- 0 -928 -1523"/>
                  <a:gd name="T15" fmla="*/ -928 h 595"/>
                  <a:gd name="T16" fmla="+- 0 17573 17239"/>
                  <a:gd name="T17" fmla="*/ T16 w 667"/>
                  <a:gd name="T18" fmla="+- 0 -1069 -1523"/>
                  <a:gd name="T19" fmla="*/ -1069 h 595"/>
                  <a:gd name="T20" fmla="+- 0 17730 17239"/>
                  <a:gd name="T21" fmla="*/ T20 w 667"/>
                  <a:gd name="T22" fmla="+- 0 -1069 -1523"/>
                  <a:gd name="T23" fmla="*/ -1069 h 595"/>
                  <a:gd name="T24" fmla="+- 0 17700 17239"/>
                  <a:gd name="T25" fmla="*/ T24 w 667"/>
                  <a:gd name="T26" fmla="+- 0 -1156 -1523"/>
                  <a:gd name="T27" fmla="*/ -1156 h 595"/>
                  <a:gd name="T28" fmla="+- 0 17906 17239"/>
                  <a:gd name="T29" fmla="*/ T28 w 667"/>
                  <a:gd name="T30" fmla="+- 0 -1296 -1523"/>
                  <a:gd name="T31" fmla="*/ -1296 h 595"/>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667" h="595">
                    <a:moveTo>
                      <a:pt x="667" y="227"/>
                    </a:moveTo>
                    <a:lnTo>
                      <a:pt x="0" y="227"/>
                    </a:lnTo>
                    <a:lnTo>
                      <a:pt x="206" y="367"/>
                    </a:lnTo>
                    <a:lnTo>
                      <a:pt x="128" y="595"/>
                    </a:lnTo>
                    <a:lnTo>
                      <a:pt x="334" y="454"/>
                    </a:lnTo>
                    <a:lnTo>
                      <a:pt x="491" y="454"/>
                    </a:lnTo>
                    <a:lnTo>
                      <a:pt x="461" y="367"/>
                    </a:lnTo>
                    <a:lnTo>
                      <a:pt x="667" y="227"/>
                    </a:lnTo>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3" name="Freeform 8"/>
              <p:cNvSpPr>
                <a:spLocks/>
              </p:cNvSpPr>
              <p:nvPr/>
            </p:nvSpPr>
            <p:spPr bwMode="gray">
              <a:xfrm>
                <a:off x="17239" y="-1523"/>
                <a:ext cx="667" cy="595"/>
              </a:xfrm>
              <a:custGeom>
                <a:avLst/>
                <a:gdLst>
                  <a:gd name="T0" fmla="+- 0 17730 17239"/>
                  <a:gd name="T1" fmla="*/ T0 w 667"/>
                  <a:gd name="T2" fmla="+- 0 -1069 -1523"/>
                  <a:gd name="T3" fmla="*/ -1069 h 595"/>
                  <a:gd name="T4" fmla="+- 0 17573 17239"/>
                  <a:gd name="T5" fmla="*/ T4 w 667"/>
                  <a:gd name="T6" fmla="+- 0 -1069 -1523"/>
                  <a:gd name="T7" fmla="*/ -1069 h 595"/>
                  <a:gd name="T8" fmla="+- 0 17779 17239"/>
                  <a:gd name="T9" fmla="*/ T8 w 667"/>
                  <a:gd name="T10" fmla="+- 0 -928 -1523"/>
                  <a:gd name="T11" fmla="*/ -928 h 595"/>
                  <a:gd name="T12" fmla="+- 0 17730 17239"/>
                  <a:gd name="T13" fmla="*/ T12 w 667"/>
                  <a:gd name="T14" fmla="+- 0 -1069 -1523"/>
                  <a:gd name="T15" fmla="*/ -1069 h 595"/>
                </a:gdLst>
                <a:ahLst/>
                <a:cxnLst>
                  <a:cxn ang="0">
                    <a:pos x="T1" y="T3"/>
                  </a:cxn>
                  <a:cxn ang="0">
                    <a:pos x="T5" y="T7"/>
                  </a:cxn>
                  <a:cxn ang="0">
                    <a:pos x="T9" y="T11"/>
                  </a:cxn>
                  <a:cxn ang="0">
                    <a:pos x="T13" y="T15"/>
                  </a:cxn>
                </a:cxnLst>
                <a:rect l="0" t="0" r="r" b="b"/>
                <a:pathLst>
                  <a:path w="667" h="595">
                    <a:moveTo>
                      <a:pt x="491" y="454"/>
                    </a:moveTo>
                    <a:lnTo>
                      <a:pt x="334" y="454"/>
                    </a:lnTo>
                    <a:lnTo>
                      <a:pt x="540" y="595"/>
                    </a:lnTo>
                    <a:lnTo>
                      <a:pt x="491" y="454"/>
                    </a:lnTo>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4" name="Freeform 9"/>
              <p:cNvSpPr>
                <a:spLocks/>
              </p:cNvSpPr>
              <p:nvPr/>
            </p:nvSpPr>
            <p:spPr bwMode="gray">
              <a:xfrm>
                <a:off x="17239" y="-1523"/>
                <a:ext cx="667" cy="595"/>
              </a:xfrm>
              <a:custGeom>
                <a:avLst/>
                <a:gdLst>
                  <a:gd name="T0" fmla="+- 0 17573 17239"/>
                  <a:gd name="T1" fmla="*/ T0 w 667"/>
                  <a:gd name="T2" fmla="+- 0 -1523 -1523"/>
                  <a:gd name="T3" fmla="*/ -1523 h 595"/>
                  <a:gd name="T4" fmla="+- 0 17494 17239"/>
                  <a:gd name="T5" fmla="*/ T4 w 667"/>
                  <a:gd name="T6" fmla="+- 0 -1296 -1523"/>
                  <a:gd name="T7" fmla="*/ -1296 h 595"/>
                  <a:gd name="T8" fmla="+- 0 17652 17239"/>
                  <a:gd name="T9" fmla="*/ T8 w 667"/>
                  <a:gd name="T10" fmla="+- 0 -1296 -1523"/>
                  <a:gd name="T11" fmla="*/ -1296 h 595"/>
                  <a:gd name="T12" fmla="+- 0 17573 17239"/>
                  <a:gd name="T13" fmla="*/ T12 w 667"/>
                  <a:gd name="T14" fmla="+- 0 -1523 -1523"/>
                  <a:gd name="T15" fmla="*/ -1523 h 595"/>
                </a:gdLst>
                <a:ahLst/>
                <a:cxnLst>
                  <a:cxn ang="0">
                    <a:pos x="T1" y="T3"/>
                  </a:cxn>
                  <a:cxn ang="0">
                    <a:pos x="T5" y="T7"/>
                  </a:cxn>
                  <a:cxn ang="0">
                    <a:pos x="T9" y="T11"/>
                  </a:cxn>
                  <a:cxn ang="0">
                    <a:pos x="T13" y="T15"/>
                  </a:cxn>
                </a:cxnLst>
                <a:rect l="0" t="0" r="r" b="b"/>
                <a:pathLst>
                  <a:path w="667" h="595">
                    <a:moveTo>
                      <a:pt x="334" y="0"/>
                    </a:moveTo>
                    <a:lnTo>
                      <a:pt x="255" y="227"/>
                    </a:lnTo>
                    <a:lnTo>
                      <a:pt x="413" y="227"/>
                    </a:lnTo>
                    <a:lnTo>
                      <a:pt x="334" y="0"/>
                    </a:lnTo>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grpSp>
        <p:nvGrpSpPr>
          <p:cNvPr id="58" name="Group 3"/>
          <p:cNvGrpSpPr>
            <a:grpSpLocks/>
          </p:cNvGrpSpPr>
          <p:nvPr/>
        </p:nvGrpSpPr>
        <p:grpSpPr bwMode="gray">
          <a:xfrm>
            <a:off x="4956351" y="5022850"/>
            <a:ext cx="53800" cy="453608"/>
            <a:chOff x="17448" y="-1996"/>
            <a:chExt cx="187" cy="2971"/>
          </a:xfrm>
        </p:grpSpPr>
        <p:sp>
          <p:nvSpPr>
            <p:cNvPr id="63" name="Freeform 4"/>
            <p:cNvSpPr>
              <a:spLocks/>
            </p:cNvSpPr>
            <p:nvPr/>
          </p:nvSpPr>
          <p:spPr bwMode="gray">
            <a:xfrm>
              <a:off x="17448" y="-1996"/>
              <a:ext cx="187" cy="2971"/>
            </a:xfrm>
            <a:custGeom>
              <a:avLst/>
              <a:gdLst>
                <a:gd name="T0" fmla="+- 0 17635 17448"/>
                <a:gd name="T1" fmla="*/ T0 w 187"/>
                <a:gd name="T2" fmla="+- 0 -1871 -1996"/>
                <a:gd name="T3" fmla="*/ -1871 h 2971"/>
                <a:gd name="T4" fmla="+- 0 17510 17448"/>
                <a:gd name="T5" fmla="*/ T4 w 187"/>
                <a:gd name="T6" fmla="+- 0 -1871 -1996"/>
                <a:gd name="T7" fmla="*/ -1871 h 2971"/>
                <a:gd name="T8" fmla="+- 0 17510 17448"/>
                <a:gd name="T9" fmla="*/ T8 w 187"/>
                <a:gd name="T10" fmla="+- 0 975 -1996"/>
                <a:gd name="T11" fmla="*/ 975 h 2971"/>
                <a:gd name="T12" fmla="+- 0 17635 17448"/>
                <a:gd name="T13" fmla="*/ T12 w 187"/>
                <a:gd name="T14" fmla="+- 0 975 -1996"/>
                <a:gd name="T15" fmla="*/ 975 h 2971"/>
                <a:gd name="T16" fmla="+- 0 17635 17448"/>
                <a:gd name="T17" fmla="*/ T16 w 187"/>
                <a:gd name="T18" fmla="+- 0 -1871 -1996"/>
                <a:gd name="T19" fmla="*/ -1871 h 2971"/>
              </a:gdLst>
              <a:ahLst/>
              <a:cxnLst>
                <a:cxn ang="0">
                  <a:pos x="T1" y="T3"/>
                </a:cxn>
                <a:cxn ang="0">
                  <a:pos x="T5" y="T7"/>
                </a:cxn>
                <a:cxn ang="0">
                  <a:pos x="T9" y="T11"/>
                </a:cxn>
                <a:cxn ang="0">
                  <a:pos x="T13" y="T15"/>
                </a:cxn>
                <a:cxn ang="0">
                  <a:pos x="T17" y="T19"/>
                </a:cxn>
              </a:cxnLst>
              <a:rect l="0" t="0" r="r" b="b"/>
              <a:pathLst>
                <a:path w="187" h="2971">
                  <a:moveTo>
                    <a:pt x="187" y="125"/>
                  </a:moveTo>
                  <a:lnTo>
                    <a:pt x="62" y="125"/>
                  </a:lnTo>
                  <a:lnTo>
                    <a:pt x="62" y="2971"/>
                  </a:lnTo>
                  <a:lnTo>
                    <a:pt x="187" y="2971"/>
                  </a:lnTo>
                  <a:lnTo>
                    <a:pt x="187" y="125"/>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 name="Freeform 5"/>
            <p:cNvSpPr>
              <a:spLocks/>
            </p:cNvSpPr>
            <p:nvPr/>
          </p:nvSpPr>
          <p:spPr bwMode="gray">
            <a:xfrm>
              <a:off x="17448" y="-1996"/>
              <a:ext cx="187" cy="2971"/>
            </a:xfrm>
            <a:custGeom>
              <a:avLst/>
              <a:gdLst>
                <a:gd name="T0" fmla="+- 0 17573 17448"/>
                <a:gd name="T1" fmla="*/ T0 w 187"/>
                <a:gd name="T2" fmla="+- 0 -1996 -1996"/>
                <a:gd name="T3" fmla="*/ -1996 h 2971"/>
                <a:gd name="T4" fmla="+- 0 17448 17448"/>
                <a:gd name="T5" fmla="*/ T4 w 187"/>
                <a:gd name="T6" fmla="+- 0 -1871 -1996"/>
                <a:gd name="T7" fmla="*/ -1871 h 2971"/>
                <a:gd name="T8" fmla="+- 0 17698 17448"/>
                <a:gd name="T9" fmla="*/ T8 w 187"/>
                <a:gd name="T10" fmla="+- 0 -1871 -1996"/>
                <a:gd name="T11" fmla="*/ -1871 h 2971"/>
                <a:gd name="T12" fmla="+- 0 17573 17448"/>
                <a:gd name="T13" fmla="*/ T12 w 187"/>
                <a:gd name="T14" fmla="+- 0 -1996 -1996"/>
                <a:gd name="T15" fmla="*/ -1996 h 2971"/>
              </a:gdLst>
              <a:ahLst/>
              <a:cxnLst>
                <a:cxn ang="0">
                  <a:pos x="T1" y="T3"/>
                </a:cxn>
                <a:cxn ang="0">
                  <a:pos x="T5" y="T7"/>
                </a:cxn>
                <a:cxn ang="0">
                  <a:pos x="T9" y="T11"/>
                </a:cxn>
                <a:cxn ang="0">
                  <a:pos x="T13" y="T15"/>
                </a:cxn>
              </a:cxnLst>
              <a:rect l="0" t="0" r="r" b="b"/>
              <a:pathLst>
                <a:path w="187" h="2971">
                  <a:moveTo>
                    <a:pt x="125" y="0"/>
                  </a:moveTo>
                  <a:lnTo>
                    <a:pt x="0" y="125"/>
                  </a:lnTo>
                  <a:lnTo>
                    <a:pt x="250" y="125"/>
                  </a:lnTo>
                  <a:lnTo>
                    <a:pt x="125" y="0"/>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994248652"/>
      </p:ext>
    </p:extLst>
  </p:cSld>
  <p:clrMapOvr>
    <a:masterClrMapping/>
  </p:clrMapOvr>
  <p:transition>
    <p:fade/>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normAutofit/>
          </a:bodyPr>
          <a:lstStyle/>
          <a:p>
            <a:r>
              <a:rPr lang="en-IN" smtClean="0"/>
              <a:t>Sanity Checking The Job’s Invocation</a:t>
            </a:r>
            <a:endParaRPr lang="en-IN"/>
          </a:p>
        </p:txBody>
      </p:sp>
      <p:sp>
        <p:nvSpPr>
          <p:cNvPr id="3" name="Rounded Rectangle 2"/>
          <p:cNvSpPr/>
          <p:nvPr/>
        </p:nvSpPr>
        <p:spPr bwMode="gray">
          <a:xfrm>
            <a:off x="554038" y="1307804"/>
            <a:ext cx="8154027" cy="4901609"/>
          </a:xfrm>
          <a:prstGeom prst="roundRect">
            <a:avLst>
              <a:gd name="adj" fmla="val 3869"/>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srgbClr val="666666">
                    <a:lumMod val="65000"/>
                    <a:lumOff val="35000"/>
                  </a:srgbClr>
                </a:solidFill>
              </a:rPr>
              <a:t>public class WordCount extends Configured implements Tool {</a:t>
            </a:r>
          </a:p>
          <a:p>
            <a:pPr marL="233363"/>
            <a:r>
              <a:rPr lang="en-IN" sz="1100">
                <a:solidFill>
                  <a:srgbClr val="666666"/>
                </a:solidFill>
              </a:rPr>
              <a:t>public int run(String[] args) throws Exception {</a:t>
            </a:r>
          </a:p>
          <a:p>
            <a:pPr marL="233363"/>
            <a:r>
              <a:rPr lang="en-IN" sz="1100">
                <a:solidFill>
                  <a:srgbClr val="666666"/>
                </a:solidFill>
              </a:rPr>
              <a:t>if (args.length != 2) {</a:t>
            </a:r>
          </a:p>
          <a:p>
            <a:pPr marL="233363"/>
            <a:r>
              <a:rPr lang="en-IN" sz="1100">
                <a:solidFill>
                  <a:srgbClr val="666666"/>
                </a:solidFill>
              </a:rPr>
              <a:t>System.out.printf(</a:t>
            </a:r>
          </a:p>
          <a:p>
            <a:pPr marL="233363"/>
            <a:r>
              <a:rPr lang="en-IN" sz="1100">
                <a:solidFill>
                  <a:srgbClr val="666666"/>
                </a:solidFill>
              </a:rPr>
              <a:t>"Usage: %s [generic options] &lt;input dir&gt; &lt;output dir&gt;\n", getClass().getSimpleName());</a:t>
            </a:r>
          </a:p>
          <a:p>
            <a:pPr marL="233363"/>
            <a:r>
              <a:rPr lang="en-IN" sz="1100">
                <a:solidFill>
                  <a:srgbClr val="666666"/>
                </a:solidFill>
              </a:rPr>
              <a:t>ToolRunner.printGenericCommandUsage(System.out);</a:t>
            </a:r>
          </a:p>
          <a:p>
            <a:pPr marL="233363"/>
            <a:r>
              <a:rPr lang="en-IN" sz="1100">
                <a:solidFill>
                  <a:srgbClr val="666666"/>
                </a:solidFill>
              </a:rPr>
              <a:t>return -1;</a:t>
            </a:r>
          </a:p>
          <a:p>
            <a:pPr marL="233363"/>
            <a:r>
              <a:rPr lang="en-IN" sz="1100">
                <a:solidFill>
                  <a:srgbClr val="666666"/>
                </a:solidFill>
              </a:rPr>
              <a:t>}</a:t>
            </a:r>
          </a:p>
          <a:p>
            <a:pPr marL="233363"/>
            <a:r>
              <a:rPr lang="en-IN" sz="1100">
                <a:solidFill>
                  <a:srgbClr val="666666">
                    <a:lumMod val="65000"/>
                    <a:lumOff val="35000"/>
                  </a:srgbClr>
                </a:solidFill>
              </a:rPr>
              <a:t>JobConf conf = new JobConf(getConf(), WordCount.class);</a:t>
            </a:r>
          </a:p>
          <a:p>
            <a:pPr marL="233363"/>
            <a:r>
              <a:rPr lang="en-IN" sz="1100">
                <a:solidFill>
                  <a:srgbClr val="666666">
                    <a:lumMod val="65000"/>
                    <a:lumOff val="35000"/>
                  </a:srgbClr>
                </a:solidFill>
              </a:rPr>
              <a:t>conf.setJobName(this.getClass().getName());</a:t>
            </a:r>
          </a:p>
          <a:p>
            <a:pPr marL="233363"/>
            <a:r>
              <a:rPr lang="en-IN" sz="1100">
                <a:solidFill>
                  <a:srgbClr val="666666">
                    <a:lumMod val="65000"/>
                    <a:lumOff val="35000"/>
                  </a:srgbClr>
                </a:solidFill>
              </a:rPr>
              <a:t>FileInputFormat.setInputPaths(conf, new Path(args[0]));</a:t>
            </a:r>
          </a:p>
          <a:p>
            <a:pPr marL="233363"/>
            <a:r>
              <a:rPr lang="en-IN" sz="1100">
                <a:solidFill>
                  <a:srgbClr val="666666">
                    <a:lumMod val="65000"/>
                    <a:lumOff val="35000"/>
                  </a:srgbClr>
                </a:solidFill>
              </a:rPr>
              <a:t>FileOutputFormat.setOutputPath(conf, new Path(args[1]));</a:t>
            </a:r>
          </a:p>
          <a:p>
            <a:pPr marL="233363"/>
            <a:r>
              <a:rPr lang="en-IN" sz="1100">
                <a:solidFill>
                  <a:srgbClr val="666666">
                    <a:lumMod val="65000"/>
                    <a:lumOff val="35000"/>
                  </a:srgbClr>
                </a:solidFill>
              </a:rPr>
              <a:t>conf.setMapperClass(WordMapper.class);</a:t>
            </a:r>
          </a:p>
          <a:p>
            <a:pPr marL="233363"/>
            <a:r>
              <a:rPr lang="en-IN" sz="1100">
                <a:solidFill>
                  <a:srgbClr val="666666">
                    <a:lumMod val="65000"/>
                    <a:lumOff val="35000"/>
                  </a:srgbClr>
                </a:solidFill>
              </a:rPr>
              <a:t>conf.setReducerClass(SumReducer.class);</a:t>
            </a:r>
          </a:p>
          <a:p>
            <a:pPr marL="233363"/>
            <a:r>
              <a:rPr lang="en-IN" sz="1100">
                <a:solidFill>
                  <a:srgbClr val="666666">
                    <a:lumMod val="65000"/>
                    <a:lumOff val="35000"/>
                  </a:srgbClr>
                </a:solidFill>
              </a:rPr>
              <a:t>conf.setMapOutputKeyClass(Text.class);</a:t>
            </a:r>
          </a:p>
          <a:p>
            <a:pPr marL="233363"/>
            <a:r>
              <a:rPr lang="en-IN" sz="1100">
                <a:solidFill>
                  <a:srgbClr val="666666">
                    <a:lumMod val="65000"/>
                    <a:lumOff val="35000"/>
                  </a:srgbClr>
                </a:solidFill>
              </a:rPr>
              <a:t>conf.setMapOutputValueClass(IntWritable.class);</a:t>
            </a:r>
          </a:p>
          <a:p>
            <a:pPr marL="233363"/>
            <a:r>
              <a:rPr lang="en-IN" sz="1100">
                <a:solidFill>
                  <a:srgbClr val="666666">
                    <a:lumMod val="65000"/>
                    <a:lumOff val="35000"/>
                  </a:srgbClr>
                </a:solidFill>
              </a:rPr>
              <a:t>conf.setOutputKeyClass(Text.class);</a:t>
            </a:r>
          </a:p>
          <a:p>
            <a:pPr marL="233363"/>
            <a:r>
              <a:rPr lang="en-IN" sz="1100">
                <a:solidFill>
                  <a:srgbClr val="666666">
                    <a:lumMod val="65000"/>
                    <a:lumOff val="35000"/>
                  </a:srgbClr>
                </a:solidFill>
              </a:rPr>
              <a:t>conf.setOutputValueClass(IntWritable.class);</a:t>
            </a:r>
          </a:p>
          <a:p>
            <a:pPr marL="233363"/>
            <a:r>
              <a:rPr lang="en-IN" sz="1100">
                <a:solidFill>
                  <a:srgbClr val="666666">
                    <a:lumMod val="65000"/>
                    <a:lumOff val="35000"/>
                  </a:srgbClr>
                </a:solidFill>
              </a:rPr>
              <a:t>JobClient.runJob(conf);</a:t>
            </a:r>
          </a:p>
          <a:p>
            <a:pPr marL="233363"/>
            <a:r>
              <a:rPr lang="en-IN" sz="1100">
                <a:solidFill>
                  <a:srgbClr val="666666">
                    <a:lumMod val="65000"/>
                    <a:lumOff val="35000"/>
                  </a:srgbClr>
                </a:solidFill>
              </a:rPr>
              <a:t>return 0;</a:t>
            </a:r>
          </a:p>
          <a:p>
            <a:pPr marL="233363"/>
            <a:r>
              <a:rPr lang="en-IN" sz="1100">
                <a:solidFill>
                  <a:srgbClr val="666666">
                    <a:lumMod val="65000"/>
                    <a:lumOff val="35000"/>
                  </a:srgbClr>
                </a:solidFill>
              </a:rPr>
              <a:t>}</a:t>
            </a:r>
          </a:p>
          <a:p>
            <a:pPr marL="233363"/>
            <a:r>
              <a:rPr lang="en-IN" sz="1100">
                <a:solidFill>
                  <a:srgbClr val="666666">
                    <a:lumMod val="65000"/>
                    <a:lumOff val="35000"/>
                  </a:srgbClr>
                </a:solidFill>
              </a:rPr>
              <a:t>public static void main(String[] args) throws Exception {</a:t>
            </a:r>
          </a:p>
          <a:p>
            <a:pPr marL="233363"/>
            <a:r>
              <a:rPr lang="en-IN" sz="1100">
                <a:solidFill>
                  <a:srgbClr val="666666">
                    <a:lumMod val="65000"/>
                    <a:lumOff val="35000"/>
                  </a:srgbClr>
                </a:solidFill>
              </a:rPr>
              <a:t>int exitCode = ToolRunner.run(new WordCount(), args);</a:t>
            </a:r>
          </a:p>
          <a:p>
            <a:pPr marL="233363"/>
            <a:r>
              <a:rPr lang="en-IN" sz="1100">
                <a:solidFill>
                  <a:srgbClr val="666666">
                    <a:lumMod val="65000"/>
                    <a:lumOff val="35000"/>
                  </a:srgbClr>
                </a:solidFill>
              </a:rPr>
              <a:t>System.exit(exitCode);</a:t>
            </a:r>
          </a:p>
          <a:p>
            <a:pPr marL="233363"/>
            <a:r>
              <a:rPr lang="en-IN" sz="1100">
                <a:solidFill>
                  <a:srgbClr val="666666">
                    <a:lumMod val="65000"/>
                    <a:lumOff val="35000"/>
                  </a:srgbClr>
                </a:solidFill>
              </a:rPr>
              <a:t>}</a:t>
            </a:r>
          </a:p>
          <a:p>
            <a:pPr marL="233363"/>
            <a:r>
              <a:rPr lang="en-IN" sz="1100">
                <a:solidFill>
                  <a:srgbClr val="666666">
                    <a:lumMod val="65000"/>
                    <a:lumOff val="35000"/>
                  </a:srgbClr>
                </a:solidFill>
              </a:rPr>
              <a:t>}</a:t>
            </a:r>
          </a:p>
        </p:txBody>
      </p:sp>
      <p:sp>
        <p:nvSpPr>
          <p:cNvPr id="4" name="Rounded Rectangle 3"/>
          <p:cNvSpPr/>
          <p:nvPr/>
        </p:nvSpPr>
        <p:spPr bwMode="gray">
          <a:xfrm>
            <a:off x="1573618" y="3243229"/>
            <a:ext cx="5932968" cy="749141"/>
          </a:xfrm>
          <a:prstGeom prst="roundRect">
            <a:avLst/>
          </a:prstGeom>
          <a:solidFill>
            <a:schemeClr val="bg1"/>
          </a:solidFill>
          <a:ln>
            <a:solidFill>
              <a:schemeClr val="bg1">
                <a:lumMod val="65000"/>
              </a:schemeClr>
            </a:solidFill>
          </a:ln>
        </p:spPr>
        <p:txBody>
          <a:bodyPr wrap="square" lIns="182880" tIns="91440" rIns="182880" bIns="91440">
            <a:spAutoFit/>
          </a:bodyPr>
          <a:lstStyle/>
          <a:p>
            <a:r>
              <a:rPr lang="en-IN" sz="1600"/>
              <a:t>The first step is to ensure that we have been given two command-line arguments. If not, print a help message and exit.</a:t>
            </a:r>
          </a:p>
        </p:txBody>
      </p:sp>
    </p:spTree>
    <p:extLst>
      <p:ext uri="{BB962C8B-B14F-4D97-AF65-F5344CB8AC3E}">
        <p14:creationId xmlns:p14="http://schemas.microsoft.com/office/powerpoint/2010/main" val="213551597"/>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Configuring The Job With JobConf</a:t>
            </a:r>
            <a:endParaRPr lang="en-IN"/>
          </a:p>
        </p:txBody>
      </p:sp>
      <p:sp>
        <p:nvSpPr>
          <p:cNvPr id="3" name="Rounded Rectangle 2"/>
          <p:cNvSpPr/>
          <p:nvPr/>
        </p:nvSpPr>
        <p:spPr bwMode="gray">
          <a:xfrm>
            <a:off x="554038" y="1307804"/>
            <a:ext cx="8154027" cy="4901609"/>
          </a:xfrm>
          <a:prstGeom prst="roundRect">
            <a:avLst>
              <a:gd name="adj" fmla="val 3869"/>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srgbClr val="666666">
                    <a:lumMod val="65000"/>
                    <a:lumOff val="35000"/>
                  </a:srgbClr>
                </a:solidFill>
              </a:rPr>
              <a:t>public class WordCount extends Configured implements Tool {</a:t>
            </a:r>
          </a:p>
          <a:p>
            <a:pPr marL="233363"/>
            <a:r>
              <a:rPr lang="en-IN" sz="1100">
                <a:solidFill>
                  <a:srgbClr val="666666">
                    <a:lumMod val="65000"/>
                    <a:lumOff val="35000"/>
                  </a:srgbClr>
                </a:solidFill>
              </a:rPr>
              <a:t>public int run(String[] args) throws Exception {</a:t>
            </a:r>
          </a:p>
          <a:p>
            <a:pPr marL="233363"/>
            <a:r>
              <a:rPr lang="en-IN" sz="1100">
                <a:solidFill>
                  <a:srgbClr val="666666">
                    <a:lumMod val="65000"/>
                    <a:lumOff val="35000"/>
                  </a:srgbClr>
                </a:solidFill>
              </a:rPr>
              <a:t>if (args.length != 2) {</a:t>
            </a:r>
          </a:p>
          <a:p>
            <a:pPr marL="233363"/>
            <a:r>
              <a:rPr lang="en-IN" sz="1100">
                <a:solidFill>
                  <a:srgbClr val="666666">
                    <a:lumMod val="65000"/>
                    <a:lumOff val="35000"/>
                  </a:srgbClr>
                </a:solidFill>
              </a:rPr>
              <a:t>System.out.printf(</a:t>
            </a:r>
          </a:p>
          <a:p>
            <a:pPr marL="233363"/>
            <a:r>
              <a:rPr lang="en-IN" sz="1100">
                <a:solidFill>
                  <a:srgbClr val="666666">
                    <a:lumMod val="65000"/>
                    <a:lumOff val="35000"/>
                  </a:srgbClr>
                </a:solidFill>
              </a:rPr>
              <a:t>"Usage: %s [generic options] &lt;input dir&gt; &lt;output dir&gt;\n", getClass().getSimpleName());</a:t>
            </a:r>
          </a:p>
          <a:p>
            <a:pPr marL="233363"/>
            <a:r>
              <a:rPr lang="en-IN" sz="1100">
                <a:solidFill>
                  <a:srgbClr val="666666">
                    <a:lumMod val="65000"/>
                    <a:lumOff val="35000"/>
                  </a:srgbClr>
                </a:solidFill>
              </a:rPr>
              <a:t>ToolRunner.printGenericCommandUsage(System.out);</a:t>
            </a:r>
          </a:p>
          <a:p>
            <a:pPr marL="233363"/>
            <a:r>
              <a:rPr lang="en-IN" sz="1100">
                <a:solidFill>
                  <a:srgbClr val="666666">
                    <a:lumMod val="65000"/>
                    <a:lumOff val="35000"/>
                  </a:srgbClr>
                </a:solidFill>
              </a:rPr>
              <a:t>return -1;</a:t>
            </a:r>
          </a:p>
          <a:p>
            <a:pPr marL="233363"/>
            <a:r>
              <a:rPr lang="en-IN" sz="1100">
                <a:solidFill>
                  <a:srgbClr val="666666">
                    <a:lumMod val="65000"/>
                    <a:lumOff val="35000"/>
                  </a:srgbClr>
                </a:solidFill>
              </a:rPr>
              <a:t>}</a:t>
            </a:r>
          </a:p>
          <a:p>
            <a:pPr marL="233363"/>
            <a:r>
              <a:rPr lang="en-IN" sz="1100">
                <a:solidFill>
                  <a:srgbClr val="666666"/>
                </a:solidFill>
              </a:rPr>
              <a:t>JobConf conf = new JobConf(getConf(), WordCount.class);</a:t>
            </a:r>
          </a:p>
          <a:p>
            <a:pPr marL="233363"/>
            <a:r>
              <a:rPr lang="en-IN" sz="1100">
                <a:solidFill>
                  <a:srgbClr val="666666">
                    <a:lumMod val="65000"/>
                    <a:lumOff val="35000"/>
                  </a:srgbClr>
                </a:solidFill>
              </a:rPr>
              <a:t>conf.setJobName(this.getClass().getName());</a:t>
            </a:r>
          </a:p>
          <a:p>
            <a:pPr marL="233363"/>
            <a:r>
              <a:rPr lang="en-IN" sz="1100">
                <a:solidFill>
                  <a:srgbClr val="666666">
                    <a:lumMod val="65000"/>
                    <a:lumOff val="35000"/>
                  </a:srgbClr>
                </a:solidFill>
              </a:rPr>
              <a:t>FileInputFormat.setInputPaths(conf, new Path(args[0]));</a:t>
            </a:r>
          </a:p>
          <a:p>
            <a:pPr marL="233363"/>
            <a:r>
              <a:rPr lang="en-IN" sz="1100">
                <a:solidFill>
                  <a:srgbClr val="666666">
                    <a:lumMod val="65000"/>
                    <a:lumOff val="35000"/>
                  </a:srgbClr>
                </a:solidFill>
              </a:rPr>
              <a:t>FileOutputFormat.setOutputPath(conf, new Path(args[1]));</a:t>
            </a:r>
          </a:p>
          <a:p>
            <a:pPr marL="233363"/>
            <a:r>
              <a:rPr lang="en-IN" sz="1100">
                <a:solidFill>
                  <a:srgbClr val="666666">
                    <a:lumMod val="65000"/>
                    <a:lumOff val="35000"/>
                  </a:srgbClr>
                </a:solidFill>
              </a:rPr>
              <a:t>conf.setMapperClass(WordMapper.class);</a:t>
            </a:r>
          </a:p>
          <a:p>
            <a:pPr marL="233363"/>
            <a:r>
              <a:rPr lang="en-IN" sz="1100">
                <a:solidFill>
                  <a:srgbClr val="666666">
                    <a:lumMod val="65000"/>
                    <a:lumOff val="35000"/>
                  </a:srgbClr>
                </a:solidFill>
              </a:rPr>
              <a:t>conf.setReducerClass(SumReducer.class);</a:t>
            </a:r>
          </a:p>
          <a:p>
            <a:pPr marL="233363"/>
            <a:r>
              <a:rPr lang="en-IN" sz="1100">
                <a:solidFill>
                  <a:srgbClr val="666666">
                    <a:lumMod val="65000"/>
                    <a:lumOff val="35000"/>
                  </a:srgbClr>
                </a:solidFill>
              </a:rPr>
              <a:t>conf.setMapOutputKeyClass(Text.class);</a:t>
            </a:r>
          </a:p>
          <a:p>
            <a:pPr marL="233363"/>
            <a:r>
              <a:rPr lang="en-IN" sz="1100">
                <a:solidFill>
                  <a:srgbClr val="666666">
                    <a:lumMod val="65000"/>
                    <a:lumOff val="35000"/>
                  </a:srgbClr>
                </a:solidFill>
              </a:rPr>
              <a:t>conf.setMapOutputValueClass(IntWritable.class);</a:t>
            </a:r>
          </a:p>
          <a:p>
            <a:pPr marL="233363"/>
            <a:r>
              <a:rPr lang="en-IN" sz="1100">
                <a:solidFill>
                  <a:srgbClr val="666666">
                    <a:lumMod val="65000"/>
                    <a:lumOff val="35000"/>
                  </a:srgbClr>
                </a:solidFill>
              </a:rPr>
              <a:t>conf.setOutputKeyClass(Text.class);</a:t>
            </a:r>
          </a:p>
          <a:p>
            <a:pPr marL="233363"/>
            <a:r>
              <a:rPr lang="en-IN" sz="1100">
                <a:solidFill>
                  <a:srgbClr val="666666">
                    <a:lumMod val="65000"/>
                    <a:lumOff val="35000"/>
                  </a:srgbClr>
                </a:solidFill>
              </a:rPr>
              <a:t>conf.setOutputValueClass(IntWritable.class);</a:t>
            </a:r>
          </a:p>
          <a:p>
            <a:pPr marL="233363"/>
            <a:r>
              <a:rPr lang="en-IN" sz="1100">
                <a:solidFill>
                  <a:srgbClr val="666666">
                    <a:lumMod val="65000"/>
                    <a:lumOff val="35000"/>
                  </a:srgbClr>
                </a:solidFill>
              </a:rPr>
              <a:t>JobClient.runJob(conf);</a:t>
            </a:r>
          </a:p>
          <a:p>
            <a:pPr marL="233363"/>
            <a:r>
              <a:rPr lang="en-IN" sz="1100">
                <a:solidFill>
                  <a:srgbClr val="666666">
                    <a:lumMod val="65000"/>
                    <a:lumOff val="35000"/>
                  </a:srgbClr>
                </a:solidFill>
              </a:rPr>
              <a:t>return 0;</a:t>
            </a:r>
          </a:p>
          <a:p>
            <a:pPr marL="233363"/>
            <a:r>
              <a:rPr lang="en-IN" sz="1100">
                <a:solidFill>
                  <a:srgbClr val="666666">
                    <a:lumMod val="65000"/>
                    <a:lumOff val="35000"/>
                  </a:srgbClr>
                </a:solidFill>
              </a:rPr>
              <a:t>}</a:t>
            </a:r>
          </a:p>
          <a:p>
            <a:pPr marL="233363"/>
            <a:r>
              <a:rPr lang="en-IN" sz="1100">
                <a:solidFill>
                  <a:srgbClr val="666666">
                    <a:lumMod val="65000"/>
                    <a:lumOff val="35000"/>
                  </a:srgbClr>
                </a:solidFill>
              </a:rPr>
              <a:t>public static void main(String[] args) throws Exception {</a:t>
            </a:r>
          </a:p>
          <a:p>
            <a:pPr marL="233363"/>
            <a:r>
              <a:rPr lang="en-IN" sz="1100">
                <a:solidFill>
                  <a:srgbClr val="666666">
                    <a:lumMod val="65000"/>
                    <a:lumOff val="35000"/>
                  </a:srgbClr>
                </a:solidFill>
              </a:rPr>
              <a:t>int exitCode = ToolRunner.run(new WordCount(), args);</a:t>
            </a:r>
          </a:p>
          <a:p>
            <a:pPr marL="233363"/>
            <a:r>
              <a:rPr lang="en-IN" sz="1100">
                <a:solidFill>
                  <a:srgbClr val="666666">
                    <a:lumMod val="65000"/>
                    <a:lumOff val="35000"/>
                  </a:srgbClr>
                </a:solidFill>
              </a:rPr>
              <a:t>System.exit(exitCode);</a:t>
            </a:r>
          </a:p>
          <a:p>
            <a:pPr marL="233363"/>
            <a:r>
              <a:rPr lang="en-IN" sz="1100">
                <a:solidFill>
                  <a:srgbClr val="666666">
                    <a:lumMod val="65000"/>
                    <a:lumOff val="35000"/>
                  </a:srgbClr>
                </a:solidFill>
              </a:rPr>
              <a:t>}</a:t>
            </a:r>
          </a:p>
          <a:p>
            <a:pPr marL="233363"/>
            <a:r>
              <a:rPr lang="en-IN" sz="1100">
                <a:solidFill>
                  <a:srgbClr val="666666">
                    <a:lumMod val="65000"/>
                    <a:lumOff val="35000"/>
                  </a:srgbClr>
                </a:solidFill>
              </a:rPr>
              <a:t>}</a:t>
            </a:r>
          </a:p>
        </p:txBody>
      </p:sp>
      <p:sp>
        <p:nvSpPr>
          <p:cNvPr id="4" name="Rounded Rectangle 3"/>
          <p:cNvSpPr/>
          <p:nvPr/>
        </p:nvSpPr>
        <p:spPr bwMode="gray">
          <a:xfrm>
            <a:off x="1573618" y="3243229"/>
            <a:ext cx="5932968" cy="749141"/>
          </a:xfrm>
          <a:prstGeom prst="roundRect">
            <a:avLst/>
          </a:prstGeom>
          <a:solidFill>
            <a:schemeClr val="bg1"/>
          </a:solidFill>
          <a:ln>
            <a:solidFill>
              <a:schemeClr val="bg1">
                <a:lumMod val="65000"/>
              </a:schemeClr>
            </a:solidFill>
          </a:ln>
        </p:spPr>
        <p:txBody>
          <a:bodyPr wrap="square" lIns="182880" tIns="91440" rIns="182880" bIns="91440">
            <a:spAutoFit/>
          </a:bodyPr>
          <a:lstStyle/>
          <a:p>
            <a:r>
              <a:rPr lang="en-IN" sz="1600"/>
              <a:t>To configure the job, create a new JobConf object and specify the class which will lbe called to run the job.</a:t>
            </a:r>
          </a:p>
        </p:txBody>
      </p:sp>
    </p:spTree>
    <p:extLst>
      <p:ext uri="{BB962C8B-B14F-4D97-AF65-F5344CB8AC3E}">
        <p14:creationId xmlns:p14="http://schemas.microsoft.com/office/powerpoint/2010/main" val="3474366536"/>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Creating a New JobConf Object</a:t>
            </a:r>
            <a:endParaRPr lang="en-IN"/>
          </a:p>
        </p:txBody>
      </p:sp>
      <p:sp>
        <p:nvSpPr>
          <p:cNvPr id="3" name="Rectangle 2"/>
          <p:cNvSpPr/>
          <p:nvPr/>
        </p:nvSpPr>
        <p:spPr bwMode="gray">
          <a:xfrm>
            <a:off x="554037" y="1869161"/>
            <a:ext cx="8270876" cy="3354765"/>
          </a:xfrm>
          <a:prstGeom prst="rect">
            <a:avLst/>
          </a:prstGeom>
        </p:spPr>
        <p:txBody>
          <a:bodyPr wrap="square" lIns="0" tIns="0" rIns="0" bIns="0">
            <a:spAutoFit/>
          </a:bodyPr>
          <a:lstStyle/>
          <a:p>
            <a:pPr marL="233363" indent="-233363">
              <a:spcBef>
                <a:spcPts val="1800"/>
              </a:spcBef>
              <a:buClr>
                <a:srgbClr val="009EDB"/>
              </a:buClr>
              <a:buSzPct val="125000"/>
              <a:buFont typeface="Calibri" panose="020F0502020204030204" pitchFamily="34" charset="0"/>
              <a:buChar char="›"/>
            </a:pPr>
            <a:r>
              <a:rPr lang="en-IN"/>
              <a:t>The JobConf class allows you to set configuration options for your MapReduce job</a:t>
            </a:r>
          </a:p>
          <a:p>
            <a:pPr marL="457200" indent="-223838">
              <a:spcBef>
                <a:spcPts val="600"/>
              </a:spcBef>
              <a:buClr>
                <a:srgbClr val="009EDB"/>
              </a:buClr>
              <a:buSzPct val="125000"/>
              <a:buFont typeface="Calibri" panose="020F0502020204030204" pitchFamily="34" charset="0"/>
              <a:buChar char="»"/>
            </a:pPr>
            <a:r>
              <a:rPr lang="en-IN"/>
              <a:t>The classes to be used for your Mapper and Reducer</a:t>
            </a:r>
          </a:p>
          <a:p>
            <a:pPr marL="457200" indent="-223838">
              <a:spcBef>
                <a:spcPts val="600"/>
              </a:spcBef>
              <a:buClr>
                <a:srgbClr val="009EDB"/>
              </a:buClr>
              <a:buSzPct val="125000"/>
              <a:buFont typeface="Calibri" panose="020F0502020204030204" pitchFamily="34" charset="0"/>
              <a:buChar char="»"/>
            </a:pPr>
            <a:r>
              <a:rPr lang="en-IN"/>
              <a:t>The input and output directories</a:t>
            </a:r>
          </a:p>
          <a:p>
            <a:pPr marL="457200" indent="-223838">
              <a:spcBef>
                <a:spcPts val="600"/>
              </a:spcBef>
              <a:buClr>
                <a:srgbClr val="009EDB"/>
              </a:buClr>
              <a:buSzPct val="125000"/>
              <a:buFont typeface="Calibri" panose="020F0502020204030204" pitchFamily="34" charset="0"/>
              <a:buChar char="»"/>
            </a:pPr>
            <a:r>
              <a:rPr lang="en-IN"/>
              <a:t>Many other options</a:t>
            </a:r>
          </a:p>
          <a:p>
            <a:pPr marL="233363" indent="-233363">
              <a:spcBef>
                <a:spcPts val="1800"/>
              </a:spcBef>
              <a:buClr>
                <a:srgbClr val="009EDB"/>
              </a:buClr>
              <a:buSzPct val="125000"/>
              <a:buFont typeface="Calibri" panose="020F0502020204030204" pitchFamily="34" charset="0"/>
              <a:buChar char="›"/>
            </a:pPr>
            <a:r>
              <a:rPr lang="en-IN"/>
              <a:t>Any options not explicitly set in your driver code will be read from your Hadoop configuration files</a:t>
            </a:r>
          </a:p>
          <a:p>
            <a:pPr marL="457200" indent="-223838">
              <a:spcBef>
                <a:spcPts val="600"/>
              </a:spcBef>
              <a:buClr>
                <a:srgbClr val="009EDB"/>
              </a:buClr>
              <a:buSzPct val="125000"/>
              <a:buFont typeface="Calibri" panose="020F0502020204030204" pitchFamily="34" charset="0"/>
              <a:buChar char="»"/>
            </a:pPr>
            <a:r>
              <a:rPr lang="en-IN"/>
              <a:t>Usually located in /etc/hadoop/conf</a:t>
            </a:r>
          </a:p>
          <a:p>
            <a:pPr marL="233363" indent="-233363">
              <a:spcBef>
                <a:spcPts val="1800"/>
              </a:spcBef>
              <a:buClr>
                <a:srgbClr val="009EDB"/>
              </a:buClr>
              <a:buSzPct val="125000"/>
              <a:buFont typeface="Calibri" panose="020F0502020204030204" pitchFamily="34" charset="0"/>
              <a:buChar char="›"/>
            </a:pPr>
            <a:r>
              <a:rPr lang="en-IN"/>
              <a:t>Any options not specified in your configuration files will receive Hadoop’s default values</a:t>
            </a:r>
          </a:p>
        </p:txBody>
      </p:sp>
    </p:spTree>
    <p:extLst>
      <p:ext uri="{BB962C8B-B14F-4D97-AF65-F5344CB8AC3E}">
        <p14:creationId xmlns:p14="http://schemas.microsoft.com/office/powerpoint/2010/main" val="491685712"/>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Naming The Job</a:t>
            </a:r>
            <a:endParaRPr lang="en-IN"/>
          </a:p>
        </p:txBody>
      </p:sp>
      <p:sp>
        <p:nvSpPr>
          <p:cNvPr id="3" name="Rounded Rectangle 2"/>
          <p:cNvSpPr/>
          <p:nvPr/>
        </p:nvSpPr>
        <p:spPr bwMode="gray">
          <a:xfrm>
            <a:off x="554038" y="1307804"/>
            <a:ext cx="8154027" cy="4901609"/>
          </a:xfrm>
          <a:prstGeom prst="roundRect">
            <a:avLst>
              <a:gd name="adj" fmla="val 4086"/>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prstClr val="white">
                    <a:lumMod val="50000"/>
                  </a:prstClr>
                </a:solidFill>
              </a:rPr>
              <a:t>public class WordCount extends Configured implements Tool {</a:t>
            </a:r>
          </a:p>
          <a:p>
            <a:pPr marL="233363"/>
            <a:r>
              <a:rPr lang="en-IN" sz="1100">
                <a:solidFill>
                  <a:prstClr val="white">
                    <a:lumMod val="50000"/>
                  </a:prstClr>
                </a:solidFill>
              </a:rPr>
              <a:t>public int run(String[] args) throws Exception {</a:t>
            </a:r>
          </a:p>
          <a:p>
            <a:pPr marL="233363"/>
            <a:r>
              <a:rPr lang="en-IN" sz="1100">
                <a:solidFill>
                  <a:prstClr val="white">
                    <a:lumMod val="50000"/>
                  </a:prstClr>
                </a:solidFill>
              </a:rPr>
              <a:t>if (args.length != 2) {</a:t>
            </a:r>
          </a:p>
          <a:p>
            <a:pPr marL="233363"/>
            <a:r>
              <a:rPr lang="en-IN" sz="1100">
                <a:solidFill>
                  <a:prstClr val="white">
                    <a:lumMod val="50000"/>
                  </a:prstClr>
                </a:solidFill>
              </a:rPr>
              <a:t>System.out.printf(</a:t>
            </a:r>
          </a:p>
          <a:p>
            <a:pPr marL="233363"/>
            <a:r>
              <a:rPr lang="en-IN" sz="1100">
                <a:solidFill>
                  <a:prstClr val="white">
                    <a:lumMod val="50000"/>
                  </a:prstClr>
                </a:solidFill>
              </a:rPr>
              <a:t>"Usage: %s [generic options] &lt;input dir&gt; &lt;output dir&gt;\n", getClass().getSimpleName());</a:t>
            </a:r>
          </a:p>
          <a:p>
            <a:pPr marL="233363"/>
            <a:r>
              <a:rPr lang="en-IN" sz="1100">
                <a:solidFill>
                  <a:prstClr val="white">
                    <a:lumMod val="50000"/>
                  </a:prstClr>
                </a:solidFill>
              </a:rPr>
              <a:t>ToolRunner.printGenericCommandUsage(System.out);</a:t>
            </a:r>
          </a:p>
          <a:p>
            <a:pPr marL="233363"/>
            <a:r>
              <a:rPr lang="en-IN" sz="1100">
                <a:solidFill>
                  <a:prstClr val="white">
                    <a:lumMod val="50000"/>
                  </a:prstClr>
                </a:solidFill>
              </a:rPr>
              <a:t>return -1;</a:t>
            </a:r>
          </a:p>
          <a:p>
            <a:pPr marL="233363"/>
            <a:r>
              <a:rPr lang="en-IN" sz="1100">
                <a:solidFill>
                  <a:prstClr val="white">
                    <a:lumMod val="50000"/>
                  </a:prstClr>
                </a:solidFill>
              </a:rPr>
              <a:t>}</a:t>
            </a:r>
          </a:p>
          <a:p>
            <a:pPr marL="233363"/>
            <a:r>
              <a:rPr lang="en-IN" sz="1100">
                <a:solidFill>
                  <a:prstClr val="white">
                    <a:lumMod val="50000"/>
                  </a:prstClr>
                </a:solidFill>
              </a:rPr>
              <a:t>JobConf conf = new JobConf(getConf(), WordCount.class);</a:t>
            </a:r>
          </a:p>
          <a:p>
            <a:pPr marL="233363"/>
            <a:r>
              <a:rPr lang="en-IN" sz="1100">
                <a:solidFill>
                  <a:srgbClr val="000000"/>
                </a:solidFill>
              </a:rPr>
              <a:t>conf.setJobName(this.getClass().getName());</a:t>
            </a:r>
          </a:p>
          <a:p>
            <a:pPr marL="233363"/>
            <a:r>
              <a:rPr lang="en-IN" sz="1100">
                <a:solidFill>
                  <a:prstClr val="white">
                    <a:lumMod val="50000"/>
                  </a:prstClr>
                </a:solidFill>
              </a:rPr>
              <a:t>FileInputFormat.setInputPaths(conf, new Path(args[0]));</a:t>
            </a:r>
          </a:p>
          <a:p>
            <a:pPr marL="233363"/>
            <a:r>
              <a:rPr lang="en-IN" sz="1100">
                <a:solidFill>
                  <a:prstClr val="white">
                    <a:lumMod val="50000"/>
                  </a:prstClr>
                </a:solidFill>
              </a:rPr>
              <a:t>FileOutputFormat.setOutputPath(conf, new Path(args[1]));</a:t>
            </a:r>
          </a:p>
          <a:p>
            <a:pPr marL="233363"/>
            <a:r>
              <a:rPr lang="en-IN" sz="1100">
                <a:solidFill>
                  <a:prstClr val="white">
                    <a:lumMod val="50000"/>
                  </a:prstClr>
                </a:solidFill>
              </a:rPr>
              <a:t>conf.setMapperClass(WordMapper.class);</a:t>
            </a:r>
          </a:p>
          <a:p>
            <a:pPr marL="233363"/>
            <a:r>
              <a:rPr lang="en-IN" sz="1100">
                <a:solidFill>
                  <a:prstClr val="white">
                    <a:lumMod val="50000"/>
                  </a:prstClr>
                </a:solidFill>
              </a:rPr>
              <a:t>conf.setReducerClass(SumReducer.class);</a:t>
            </a:r>
          </a:p>
          <a:p>
            <a:pPr marL="233363"/>
            <a:r>
              <a:rPr lang="en-IN" sz="1100">
                <a:solidFill>
                  <a:prstClr val="white">
                    <a:lumMod val="50000"/>
                  </a:prstClr>
                </a:solidFill>
              </a:rPr>
              <a:t>conf.setMapOutputKeyClass(Text.class);</a:t>
            </a:r>
          </a:p>
          <a:p>
            <a:pPr marL="233363"/>
            <a:r>
              <a:rPr lang="en-IN" sz="1100">
                <a:solidFill>
                  <a:prstClr val="white">
                    <a:lumMod val="50000"/>
                  </a:prstClr>
                </a:solidFill>
              </a:rPr>
              <a:t>conf.setMapOutputValueClass(IntWritable.class);</a:t>
            </a:r>
          </a:p>
          <a:p>
            <a:pPr marL="233363"/>
            <a:r>
              <a:rPr lang="en-IN" sz="1100">
                <a:solidFill>
                  <a:prstClr val="white">
                    <a:lumMod val="50000"/>
                  </a:prstClr>
                </a:solidFill>
              </a:rPr>
              <a:t>conf.setOutputKeyClass(Text.class);</a:t>
            </a:r>
          </a:p>
          <a:p>
            <a:pPr marL="233363"/>
            <a:r>
              <a:rPr lang="en-IN" sz="1100">
                <a:solidFill>
                  <a:prstClr val="white">
                    <a:lumMod val="50000"/>
                  </a:prstClr>
                </a:solidFill>
              </a:rPr>
              <a:t>conf.setOutputValueClass(IntWritable.class);</a:t>
            </a:r>
          </a:p>
          <a:p>
            <a:pPr marL="233363"/>
            <a:r>
              <a:rPr lang="en-IN" sz="1100">
                <a:solidFill>
                  <a:prstClr val="white">
                    <a:lumMod val="50000"/>
                  </a:prstClr>
                </a:solidFill>
              </a:rPr>
              <a:t>JobClient.runJob(conf);</a:t>
            </a:r>
          </a:p>
          <a:p>
            <a:pPr marL="233363"/>
            <a:r>
              <a:rPr lang="en-IN" sz="1100">
                <a:solidFill>
                  <a:prstClr val="white">
                    <a:lumMod val="50000"/>
                  </a:prstClr>
                </a:solidFill>
              </a:rPr>
              <a:t>return 0;</a:t>
            </a:r>
          </a:p>
          <a:p>
            <a:pPr marL="233363"/>
            <a:r>
              <a:rPr lang="en-IN" sz="1100">
                <a:solidFill>
                  <a:prstClr val="white">
                    <a:lumMod val="50000"/>
                  </a:prstClr>
                </a:solidFill>
              </a:rPr>
              <a:t>}</a:t>
            </a:r>
          </a:p>
          <a:p>
            <a:pPr marL="233363"/>
            <a:r>
              <a:rPr lang="en-IN" sz="1100">
                <a:solidFill>
                  <a:prstClr val="white">
                    <a:lumMod val="50000"/>
                  </a:prstClr>
                </a:solidFill>
              </a:rPr>
              <a:t>public static void main(String[] args) throws Exception {</a:t>
            </a:r>
          </a:p>
          <a:p>
            <a:pPr marL="233363"/>
            <a:r>
              <a:rPr lang="en-IN" sz="1100">
                <a:solidFill>
                  <a:prstClr val="white">
                    <a:lumMod val="50000"/>
                  </a:prstClr>
                </a:solidFill>
              </a:rPr>
              <a:t>int exitCode = ToolRunner.run(new WordCount(), args);</a:t>
            </a:r>
          </a:p>
          <a:p>
            <a:pPr marL="233363"/>
            <a:r>
              <a:rPr lang="en-IN" sz="1100">
                <a:solidFill>
                  <a:prstClr val="white">
                    <a:lumMod val="50000"/>
                  </a:prstClr>
                </a:solidFill>
              </a:rPr>
              <a:t>System.exit(exitCode);</a:t>
            </a:r>
          </a:p>
          <a:p>
            <a:pPr marL="233363"/>
            <a:r>
              <a:rPr lang="en-IN" sz="1100">
                <a:solidFill>
                  <a:prstClr val="white">
                    <a:lumMod val="50000"/>
                  </a:prstClr>
                </a:solidFill>
              </a:rPr>
              <a:t>}</a:t>
            </a:r>
          </a:p>
          <a:p>
            <a:pPr marL="233363"/>
            <a:r>
              <a:rPr lang="en-IN" sz="1100">
                <a:solidFill>
                  <a:prstClr val="white">
                    <a:lumMod val="50000"/>
                  </a:prstClr>
                </a:solidFill>
              </a:rPr>
              <a:t>}</a:t>
            </a:r>
          </a:p>
        </p:txBody>
      </p:sp>
      <p:sp>
        <p:nvSpPr>
          <p:cNvPr id="4" name="Rounded Rectangle 3"/>
          <p:cNvSpPr/>
          <p:nvPr/>
        </p:nvSpPr>
        <p:spPr bwMode="gray">
          <a:xfrm>
            <a:off x="1414130" y="3423983"/>
            <a:ext cx="5932968" cy="476726"/>
          </a:xfrm>
          <a:prstGeom prst="roundRect">
            <a:avLst/>
          </a:prstGeom>
          <a:solidFill>
            <a:schemeClr val="bg1"/>
          </a:solidFill>
          <a:ln>
            <a:solidFill>
              <a:schemeClr val="bg1">
                <a:lumMod val="65000"/>
              </a:schemeClr>
            </a:solidFill>
          </a:ln>
        </p:spPr>
        <p:txBody>
          <a:bodyPr wrap="square" lIns="182880" tIns="91440" rIns="182880" bIns="91440">
            <a:spAutoFit/>
          </a:bodyPr>
          <a:lstStyle/>
          <a:p>
            <a:r>
              <a:rPr lang="en-IN" sz="1600" smtClean="0"/>
              <a:t>Give the job a </a:t>
            </a:r>
            <a:r>
              <a:rPr lang="en-IN" sz="1600"/>
              <a:t>meaningful name.</a:t>
            </a:r>
          </a:p>
        </p:txBody>
      </p:sp>
    </p:spTree>
    <p:extLst>
      <p:ext uri="{BB962C8B-B14F-4D97-AF65-F5344CB8AC3E}">
        <p14:creationId xmlns:p14="http://schemas.microsoft.com/office/powerpoint/2010/main" val="2094508394"/>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Specifying Input and Output Directories</a:t>
            </a:r>
            <a:endParaRPr lang="en-IN"/>
          </a:p>
        </p:txBody>
      </p:sp>
      <p:sp>
        <p:nvSpPr>
          <p:cNvPr id="3" name="Rounded Rectangle 2"/>
          <p:cNvSpPr/>
          <p:nvPr/>
        </p:nvSpPr>
        <p:spPr bwMode="gray">
          <a:xfrm>
            <a:off x="554038" y="1307804"/>
            <a:ext cx="8154027" cy="4901609"/>
          </a:xfrm>
          <a:prstGeom prst="roundRect">
            <a:avLst>
              <a:gd name="adj" fmla="val 4303"/>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prstClr val="white">
                    <a:lumMod val="50000"/>
                  </a:prstClr>
                </a:solidFill>
              </a:rPr>
              <a:t>public class WordCount extends Configured implements Tool {</a:t>
            </a:r>
          </a:p>
          <a:p>
            <a:pPr marL="233363"/>
            <a:r>
              <a:rPr lang="en-IN" sz="1100">
                <a:solidFill>
                  <a:prstClr val="white">
                    <a:lumMod val="50000"/>
                  </a:prstClr>
                </a:solidFill>
              </a:rPr>
              <a:t>public int run(String[] args) throws Exception {</a:t>
            </a:r>
          </a:p>
          <a:p>
            <a:pPr marL="233363"/>
            <a:r>
              <a:rPr lang="en-IN" sz="1100">
                <a:solidFill>
                  <a:prstClr val="white">
                    <a:lumMod val="50000"/>
                  </a:prstClr>
                </a:solidFill>
              </a:rPr>
              <a:t>if (args.length != 2) {</a:t>
            </a:r>
          </a:p>
          <a:p>
            <a:pPr marL="233363"/>
            <a:r>
              <a:rPr lang="en-IN" sz="1100">
                <a:solidFill>
                  <a:prstClr val="white">
                    <a:lumMod val="50000"/>
                  </a:prstClr>
                </a:solidFill>
              </a:rPr>
              <a:t>System.out.printf(</a:t>
            </a:r>
          </a:p>
          <a:p>
            <a:pPr marL="233363"/>
            <a:r>
              <a:rPr lang="en-IN" sz="1100">
                <a:solidFill>
                  <a:prstClr val="white">
                    <a:lumMod val="50000"/>
                  </a:prstClr>
                </a:solidFill>
              </a:rPr>
              <a:t>"Usage: %s [generic options] &lt;input dir&gt; &lt;output dir&gt;\n", getClass().getSimpleName());</a:t>
            </a:r>
          </a:p>
          <a:p>
            <a:pPr marL="233363"/>
            <a:r>
              <a:rPr lang="en-IN" sz="1100">
                <a:solidFill>
                  <a:prstClr val="white">
                    <a:lumMod val="50000"/>
                  </a:prstClr>
                </a:solidFill>
              </a:rPr>
              <a:t>ToolRunner.printGenericCommandUsage(System.out);</a:t>
            </a:r>
          </a:p>
          <a:p>
            <a:pPr marL="233363"/>
            <a:r>
              <a:rPr lang="en-IN" sz="1100">
                <a:solidFill>
                  <a:prstClr val="white">
                    <a:lumMod val="50000"/>
                  </a:prstClr>
                </a:solidFill>
              </a:rPr>
              <a:t>return -1;</a:t>
            </a:r>
          </a:p>
          <a:p>
            <a:pPr marL="233363"/>
            <a:r>
              <a:rPr lang="en-IN" sz="1100">
                <a:solidFill>
                  <a:prstClr val="white">
                    <a:lumMod val="50000"/>
                  </a:prstClr>
                </a:solidFill>
              </a:rPr>
              <a:t>}</a:t>
            </a:r>
          </a:p>
          <a:p>
            <a:pPr marL="233363"/>
            <a:r>
              <a:rPr lang="en-IN" sz="1100">
                <a:solidFill>
                  <a:prstClr val="white">
                    <a:lumMod val="50000"/>
                  </a:prstClr>
                </a:solidFill>
              </a:rPr>
              <a:t>JobConf conf = new JobConf(getConf(), WordCount.class);</a:t>
            </a:r>
          </a:p>
          <a:p>
            <a:pPr marL="233363"/>
            <a:r>
              <a:rPr lang="en-IN" sz="1100">
                <a:solidFill>
                  <a:prstClr val="white">
                    <a:lumMod val="50000"/>
                  </a:prstClr>
                </a:solidFill>
              </a:rPr>
              <a:t>conf.setJobName(this.getClass().getName());</a:t>
            </a:r>
          </a:p>
          <a:p>
            <a:pPr marL="233363"/>
            <a:r>
              <a:rPr lang="en-IN" sz="1100">
                <a:solidFill>
                  <a:srgbClr val="000000"/>
                </a:solidFill>
              </a:rPr>
              <a:t>FileInputFormat.setInputPaths(conf, new Path(args[0]));</a:t>
            </a:r>
          </a:p>
          <a:p>
            <a:pPr marL="233363"/>
            <a:r>
              <a:rPr lang="en-IN" sz="1100">
                <a:solidFill>
                  <a:srgbClr val="000000"/>
                </a:solidFill>
              </a:rPr>
              <a:t>FileOutputFormat.setOutputPath(conf, new Path(args[1]));</a:t>
            </a:r>
          </a:p>
          <a:p>
            <a:pPr marL="233363"/>
            <a:r>
              <a:rPr lang="en-IN" sz="1100">
                <a:solidFill>
                  <a:prstClr val="white">
                    <a:lumMod val="50000"/>
                  </a:prstClr>
                </a:solidFill>
              </a:rPr>
              <a:t>conf.setMapperClass(WordMapper.class);</a:t>
            </a:r>
          </a:p>
          <a:p>
            <a:pPr marL="233363"/>
            <a:r>
              <a:rPr lang="en-IN" sz="1100">
                <a:solidFill>
                  <a:prstClr val="white">
                    <a:lumMod val="50000"/>
                  </a:prstClr>
                </a:solidFill>
              </a:rPr>
              <a:t>conf.setReducerClass(SumReducer.class);</a:t>
            </a:r>
          </a:p>
          <a:p>
            <a:pPr marL="233363"/>
            <a:r>
              <a:rPr lang="en-IN" sz="1100">
                <a:solidFill>
                  <a:prstClr val="white">
                    <a:lumMod val="50000"/>
                  </a:prstClr>
                </a:solidFill>
              </a:rPr>
              <a:t>conf.setMapOutputKeyClass(Text.class);</a:t>
            </a:r>
          </a:p>
          <a:p>
            <a:pPr marL="233363"/>
            <a:r>
              <a:rPr lang="en-IN" sz="1100">
                <a:solidFill>
                  <a:prstClr val="white">
                    <a:lumMod val="50000"/>
                  </a:prstClr>
                </a:solidFill>
              </a:rPr>
              <a:t>conf.setMapOutputValueClass(IntWritable.class);</a:t>
            </a:r>
          </a:p>
          <a:p>
            <a:pPr marL="233363"/>
            <a:r>
              <a:rPr lang="en-IN" sz="1100">
                <a:solidFill>
                  <a:prstClr val="white">
                    <a:lumMod val="50000"/>
                  </a:prstClr>
                </a:solidFill>
              </a:rPr>
              <a:t>conf.setOutputKeyClass(Text.class);</a:t>
            </a:r>
          </a:p>
          <a:p>
            <a:pPr marL="233363"/>
            <a:r>
              <a:rPr lang="en-IN" sz="1100">
                <a:solidFill>
                  <a:prstClr val="white">
                    <a:lumMod val="50000"/>
                  </a:prstClr>
                </a:solidFill>
              </a:rPr>
              <a:t>conf.setOutputValueClass(IntWritable.class);</a:t>
            </a:r>
          </a:p>
          <a:p>
            <a:pPr marL="233363"/>
            <a:r>
              <a:rPr lang="en-IN" sz="1100">
                <a:solidFill>
                  <a:prstClr val="white">
                    <a:lumMod val="50000"/>
                  </a:prstClr>
                </a:solidFill>
              </a:rPr>
              <a:t>JobClient.runJob(conf);</a:t>
            </a:r>
          </a:p>
          <a:p>
            <a:pPr marL="233363"/>
            <a:r>
              <a:rPr lang="en-IN" sz="1100">
                <a:solidFill>
                  <a:prstClr val="white">
                    <a:lumMod val="50000"/>
                  </a:prstClr>
                </a:solidFill>
              </a:rPr>
              <a:t>return 0;</a:t>
            </a:r>
          </a:p>
          <a:p>
            <a:pPr marL="233363"/>
            <a:r>
              <a:rPr lang="en-IN" sz="1100">
                <a:solidFill>
                  <a:prstClr val="white">
                    <a:lumMod val="50000"/>
                  </a:prstClr>
                </a:solidFill>
              </a:rPr>
              <a:t>}</a:t>
            </a:r>
          </a:p>
          <a:p>
            <a:pPr marL="233363"/>
            <a:r>
              <a:rPr lang="en-IN" sz="1100">
                <a:solidFill>
                  <a:prstClr val="white">
                    <a:lumMod val="50000"/>
                  </a:prstClr>
                </a:solidFill>
              </a:rPr>
              <a:t>public static void main(String[] args) throws Exception {</a:t>
            </a:r>
          </a:p>
          <a:p>
            <a:pPr marL="233363"/>
            <a:r>
              <a:rPr lang="en-IN" sz="1100">
                <a:solidFill>
                  <a:prstClr val="white">
                    <a:lumMod val="50000"/>
                  </a:prstClr>
                </a:solidFill>
              </a:rPr>
              <a:t>int exitCode = ToolRunner.run(new WordCount(), args);</a:t>
            </a:r>
          </a:p>
          <a:p>
            <a:pPr marL="233363"/>
            <a:r>
              <a:rPr lang="en-IN" sz="1100">
                <a:solidFill>
                  <a:prstClr val="white">
                    <a:lumMod val="50000"/>
                  </a:prstClr>
                </a:solidFill>
              </a:rPr>
              <a:t>System.exit(exitCode);</a:t>
            </a:r>
          </a:p>
          <a:p>
            <a:pPr marL="233363"/>
            <a:r>
              <a:rPr lang="en-IN" sz="1100">
                <a:solidFill>
                  <a:prstClr val="white">
                    <a:lumMod val="50000"/>
                  </a:prstClr>
                </a:solidFill>
              </a:rPr>
              <a:t>}</a:t>
            </a:r>
          </a:p>
          <a:p>
            <a:pPr marL="233363"/>
            <a:r>
              <a:rPr lang="en-IN" sz="1100">
                <a:solidFill>
                  <a:prstClr val="white">
                    <a:lumMod val="50000"/>
                  </a:prstClr>
                </a:solidFill>
              </a:rPr>
              <a:t>}</a:t>
            </a:r>
          </a:p>
        </p:txBody>
      </p:sp>
      <p:sp>
        <p:nvSpPr>
          <p:cNvPr id="4" name="Rounded Rectangle 3"/>
          <p:cNvSpPr/>
          <p:nvPr/>
        </p:nvSpPr>
        <p:spPr bwMode="gray">
          <a:xfrm>
            <a:off x="1414130" y="3615377"/>
            <a:ext cx="5932968" cy="749141"/>
          </a:xfrm>
          <a:prstGeom prst="roundRect">
            <a:avLst/>
          </a:prstGeom>
          <a:solidFill>
            <a:schemeClr val="bg1"/>
          </a:solidFill>
          <a:ln>
            <a:solidFill>
              <a:schemeClr val="bg1">
                <a:lumMod val="65000"/>
              </a:schemeClr>
            </a:solidFill>
          </a:ln>
        </p:spPr>
        <p:txBody>
          <a:bodyPr wrap="square" lIns="182880" tIns="91440" rIns="182880" bIns="91440">
            <a:spAutoFit/>
          </a:bodyPr>
          <a:lstStyle/>
          <a:p>
            <a:r>
              <a:rPr lang="en-IN" sz="1600"/>
              <a:t>Next, specify the input directory from which data will be read, and the output directory to which final output will be written.</a:t>
            </a:r>
          </a:p>
        </p:txBody>
      </p:sp>
    </p:spTree>
    <p:extLst>
      <p:ext uri="{BB962C8B-B14F-4D97-AF65-F5344CB8AC3E}">
        <p14:creationId xmlns:p14="http://schemas.microsoft.com/office/powerpoint/2010/main" val="2678399789"/>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Specifying the InputFormat</a:t>
            </a:r>
            <a:endParaRPr lang="en-IN"/>
          </a:p>
        </p:txBody>
      </p:sp>
      <p:sp>
        <p:nvSpPr>
          <p:cNvPr id="3" name="Rectangle 2"/>
          <p:cNvSpPr/>
          <p:nvPr/>
        </p:nvSpPr>
        <p:spPr bwMode="gray">
          <a:xfrm>
            <a:off x="554038" y="2413338"/>
            <a:ext cx="6984446" cy="1461939"/>
          </a:xfrm>
          <a:prstGeom prst="rect">
            <a:avLst/>
          </a:prstGeom>
        </p:spPr>
        <p:txBody>
          <a:bodyPr wrap="square" lIns="0" tIns="0" rIns="0" bIns="0">
            <a:spAutoFit/>
          </a:bodyPr>
          <a:lstStyle/>
          <a:p>
            <a:pPr marL="233363" indent="-233363">
              <a:spcBef>
                <a:spcPts val="1800"/>
              </a:spcBef>
              <a:buClr>
                <a:srgbClr val="009EDB"/>
              </a:buClr>
              <a:buSzPct val="125000"/>
              <a:buFont typeface="Calibri" panose="020F0502020204030204" pitchFamily="34" charset="0"/>
              <a:buChar char="›"/>
            </a:pPr>
            <a:r>
              <a:rPr lang="en-IN"/>
              <a:t>The default InputFormat (TextInputFormat) will be used unless you specify otherwise</a:t>
            </a:r>
          </a:p>
          <a:p>
            <a:pPr marL="233363" indent="-233363">
              <a:spcBef>
                <a:spcPts val="1800"/>
              </a:spcBef>
              <a:buClr>
                <a:srgbClr val="009EDB"/>
              </a:buClr>
              <a:buSzPct val="125000"/>
              <a:buFont typeface="Calibri" panose="020F0502020204030204" pitchFamily="34" charset="0"/>
              <a:buChar char="›"/>
            </a:pPr>
            <a:r>
              <a:rPr lang="en-IN"/>
              <a:t>To use an InputFormat other than the default, use e.g.</a:t>
            </a:r>
          </a:p>
          <a:p>
            <a:pPr marL="233363">
              <a:spcBef>
                <a:spcPts val="1200"/>
              </a:spcBef>
            </a:pPr>
            <a:r>
              <a:rPr lang="en-IN" sz="1600">
                <a:latin typeface="Arial" panose="020B0604020202020204" pitchFamily="34" charset="0"/>
                <a:cs typeface="Arial" panose="020B0604020202020204" pitchFamily="34" charset="0"/>
              </a:rPr>
              <a:t>conf.setInputFormat(KeyValueTextInputFormat.class</a:t>
            </a:r>
            <a:r>
              <a:rPr lang="en-IN" sz="1600"/>
              <a:t>)</a:t>
            </a:r>
          </a:p>
        </p:txBody>
      </p:sp>
    </p:spTree>
    <p:extLst>
      <p:ext uri="{BB962C8B-B14F-4D97-AF65-F5344CB8AC3E}">
        <p14:creationId xmlns:p14="http://schemas.microsoft.com/office/powerpoint/2010/main" val="1684660950"/>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Determining Which Files To Read</a:t>
            </a:r>
            <a:endParaRPr lang="en-IN"/>
          </a:p>
        </p:txBody>
      </p:sp>
      <p:sp>
        <p:nvSpPr>
          <p:cNvPr id="3" name="Rectangle 2"/>
          <p:cNvSpPr/>
          <p:nvPr/>
        </p:nvSpPr>
        <p:spPr bwMode="gray">
          <a:xfrm>
            <a:off x="554038" y="1622951"/>
            <a:ext cx="8035924" cy="4047262"/>
          </a:xfrm>
          <a:prstGeom prst="rect">
            <a:avLst/>
          </a:prstGeom>
        </p:spPr>
        <p:txBody>
          <a:bodyPr wrap="square" lIns="0" tIns="0" rIns="0" bIns="0">
            <a:spAutoFit/>
          </a:bodyPr>
          <a:lstStyle/>
          <a:p>
            <a:pPr marL="233363" indent="-233363">
              <a:spcBef>
                <a:spcPts val="1800"/>
              </a:spcBef>
              <a:buClr>
                <a:srgbClr val="009EDB"/>
              </a:buClr>
              <a:buSzPct val="125000"/>
              <a:buFont typeface="Calibri" panose="020F0502020204030204" pitchFamily="34" charset="0"/>
              <a:buChar char="›"/>
            </a:pPr>
            <a:r>
              <a:rPr lang="en-IN"/>
              <a:t>By default, FileInputFormat.setInputPaths() will read all files from a specified directory and send them to Mappers</a:t>
            </a:r>
          </a:p>
          <a:p>
            <a:pPr marL="457200" indent="-223838">
              <a:spcBef>
                <a:spcPts val="600"/>
              </a:spcBef>
              <a:buClr>
                <a:srgbClr val="009EDB"/>
              </a:buClr>
              <a:buSzPct val="125000"/>
              <a:buFont typeface="Calibri" panose="020F0502020204030204" pitchFamily="34" charset="0"/>
              <a:buChar char="»"/>
            </a:pPr>
            <a:r>
              <a:rPr lang="en-IN"/>
              <a:t>Exceptions: items whose names begin with a period (.) or underscore (_)</a:t>
            </a:r>
          </a:p>
          <a:p>
            <a:pPr marL="457200" indent="-223838">
              <a:spcBef>
                <a:spcPts val="600"/>
              </a:spcBef>
              <a:buClr>
                <a:srgbClr val="009EDB"/>
              </a:buClr>
              <a:buSzPct val="125000"/>
              <a:buFont typeface="Calibri" panose="020F0502020204030204" pitchFamily="34" charset="0"/>
              <a:buChar char="»"/>
            </a:pPr>
            <a:r>
              <a:rPr lang="en-IN"/>
              <a:t>Globs can be specified to restrict input</a:t>
            </a:r>
          </a:p>
          <a:p>
            <a:pPr marL="690563" indent="-233363">
              <a:spcBef>
                <a:spcPts val="1200"/>
              </a:spcBef>
              <a:buClr>
                <a:srgbClr val="666666"/>
              </a:buClr>
              <a:buSzPct val="125000"/>
              <a:buFont typeface="Calibri" panose="020F0502020204030204" pitchFamily="34" charset="0"/>
              <a:buChar char="›"/>
            </a:pPr>
            <a:r>
              <a:rPr lang="en-IN" sz="1600"/>
              <a:t>For example, /2010/*/01/*</a:t>
            </a:r>
          </a:p>
          <a:p>
            <a:pPr marL="233363" indent="-233363">
              <a:spcBef>
                <a:spcPts val="1800"/>
              </a:spcBef>
              <a:buClr>
                <a:srgbClr val="009EDB"/>
              </a:buClr>
              <a:buSzPct val="125000"/>
              <a:buFont typeface="Calibri" panose="020F0502020204030204" pitchFamily="34" charset="0"/>
              <a:buChar char="›"/>
            </a:pPr>
            <a:r>
              <a:rPr lang="en-IN"/>
              <a:t>Alternatively, FileInputFormat.addInputPath() can be called multiple times, specifying a single file or directory each time</a:t>
            </a:r>
          </a:p>
          <a:p>
            <a:pPr marL="233363" indent="-233363">
              <a:spcBef>
                <a:spcPts val="1800"/>
              </a:spcBef>
              <a:buClr>
                <a:srgbClr val="009EDB"/>
              </a:buClr>
              <a:buSzPct val="125000"/>
              <a:buFont typeface="Calibri" panose="020F0502020204030204" pitchFamily="34" charset="0"/>
              <a:buChar char="›"/>
            </a:pPr>
            <a:r>
              <a:rPr lang="en-IN"/>
              <a:t>More advanced filtering can be performed by implementing a PathFilter</a:t>
            </a:r>
          </a:p>
          <a:p>
            <a:pPr marL="457200" indent="-223838">
              <a:spcBef>
                <a:spcPts val="600"/>
              </a:spcBef>
              <a:buClr>
                <a:srgbClr val="009EDB"/>
              </a:buClr>
              <a:buSzPct val="125000"/>
              <a:buFont typeface="Calibri" panose="020F0502020204030204" pitchFamily="34" charset="0"/>
              <a:buChar char="»"/>
            </a:pPr>
            <a:r>
              <a:rPr lang="en-IN"/>
              <a:t>Interface with a method named accept</a:t>
            </a:r>
          </a:p>
          <a:p>
            <a:pPr marL="690563" indent="-233363">
              <a:spcBef>
                <a:spcPts val="1200"/>
              </a:spcBef>
              <a:buClr>
                <a:srgbClr val="666666"/>
              </a:buClr>
              <a:buSzPct val="125000"/>
              <a:buFont typeface="Calibri" panose="020F0502020204030204" pitchFamily="34" charset="0"/>
              <a:buChar char="›"/>
            </a:pPr>
            <a:r>
              <a:rPr lang="en-IN" sz="1600"/>
              <a:t>Takes a path to a file, returns true or false depending on whether or not the file should be processed</a:t>
            </a:r>
          </a:p>
        </p:txBody>
      </p:sp>
    </p:spTree>
    <p:extLst>
      <p:ext uri="{BB962C8B-B14F-4D97-AF65-F5344CB8AC3E}">
        <p14:creationId xmlns:p14="http://schemas.microsoft.com/office/powerpoint/2010/main" val="1427461624"/>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Specifying Final Output With OutputFormat</a:t>
            </a:r>
            <a:endParaRPr lang="en-IN"/>
          </a:p>
        </p:txBody>
      </p:sp>
      <p:sp>
        <p:nvSpPr>
          <p:cNvPr id="3" name="Rectangle 2"/>
          <p:cNvSpPr/>
          <p:nvPr/>
        </p:nvSpPr>
        <p:spPr bwMode="gray">
          <a:xfrm>
            <a:off x="554038" y="1720840"/>
            <a:ext cx="7175832" cy="2169825"/>
          </a:xfrm>
          <a:prstGeom prst="rect">
            <a:avLst/>
          </a:prstGeom>
        </p:spPr>
        <p:txBody>
          <a:bodyPr wrap="square" lIns="0" tIns="0" rIns="0" bIns="0">
            <a:spAutoFit/>
          </a:bodyPr>
          <a:lstStyle/>
          <a:p>
            <a:pPr marL="233363" indent="-233363">
              <a:spcBef>
                <a:spcPts val="1800"/>
              </a:spcBef>
              <a:buClr>
                <a:srgbClr val="009EDB"/>
              </a:buClr>
              <a:buSzPct val="125000"/>
              <a:buFont typeface="Calibri" panose="020F0502020204030204" pitchFamily="34" charset="0"/>
              <a:buChar char="›"/>
            </a:pPr>
            <a:r>
              <a:rPr lang="en-IN" dirty="0" err="1"/>
              <a:t>FileOutputFormat.setOutputPath</a:t>
            </a:r>
            <a:r>
              <a:rPr lang="en-IN" dirty="0"/>
              <a:t>() specifies the directory to which the Reducers will write their final output</a:t>
            </a:r>
          </a:p>
          <a:p>
            <a:pPr marL="233363" indent="-233363">
              <a:spcBef>
                <a:spcPts val="1800"/>
              </a:spcBef>
              <a:buClr>
                <a:srgbClr val="009EDB"/>
              </a:buClr>
              <a:buSzPct val="125000"/>
              <a:buFont typeface="Calibri" panose="020F0502020204030204" pitchFamily="34" charset="0"/>
              <a:buChar char="›"/>
            </a:pPr>
            <a:r>
              <a:rPr lang="en-IN" dirty="0"/>
              <a:t>The driver can also specify the format of the output data</a:t>
            </a:r>
          </a:p>
          <a:p>
            <a:pPr marL="457200" indent="-223838">
              <a:spcBef>
                <a:spcPts val="600"/>
              </a:spcBef>
              <a:buClr>
                <a:srgbClr val="009EDB"/>
              </a:buClr>
              <a:buSzPct val="125000"/>
              <a:buFont typeface="Calibri" panose="020F0502020204030204" pitchFamily="34" charset="0"/>
              <a:buChar char="»"/>
            </a:pPr>
            <a:r>
              <a:rPr lang="en-IN" dirty="0"/>
              <a:t>Default is a plain text file</a:t>
            </a:r>
          </a:p>
          <a:p>
            <a:pPr marL="457200" indent="-223838">
              <a:spcBef>
                <a:spcPts val="600"/>
              </a:spcBef>
              <a:buClr>
                <a:srgbClr val="009EDB"/>
              </a:buClr>
              <a:buSzPct val="125000"/>
              <a:buFont typeface="Calibri" panose="020F0502020204030204" pitchFamily="34" charset="0"/>
              <a:buChar char="»"/>
            </a:pPr>
            <a:r>
              <a:rPr lang="en-IN" dirty="0"/>
              <a:t>Could be explicitly written as</a:t>
            </a:r>
          </a:p>
          <a:p>
            <a:pPr marL="574675">
              <a:spcBef>
                <a:spcPts val="1200"/>
              </a:spcBef>
            </a:pPr>
            <a:r>
              <a:rPr lang="en-IN" sz="1600" dirty="0" err="1">
                <a:latin typeface="Arial" panose="020B0604020202020204" pitchFamily="34" charset="0"/>
                <a:cs typeface="Arial" panose="020B0604020202020204" pitchFamily="34" charset="0"/>
              </a:rPr>
              <a:t>conf.setOutputFormat</a:t>
            </a:r>
            <a:r>
              <a:rPr lang="en-IN" sz="1600" dirty="0">
                <a:latin typeface="Arial" panose="020B0604020202020204" pitchFamily="34" charset="0"/>
                <a:cs typeface="Arial" panose="020B0604020202020204" pitchFamily="34" charset="0"/>
              </a:rPr>
              <a:t>(</a:t>
            </a:r>
            <a:r>
              <a:rPr lang="en-IN" sz="1600" dirty="0" err="1">
                <a:latin typeface="Arial" panose="020B0604020202020204" pitchFamily="34" charset="0"/>
                <a:cs typeface="Arial" panose="020B0604020202020204" pitchFamily="34" charset="0"/>
              </a:rPr>
              <a:t>TextOutputFormat.class</a:t>
            </a:r>
            <a:r>
              <a:rPr lang="en-IN" sz="1600" dirty="0" smtClean="0">
                <a:latin typeface="Arial" panose="020B0604020202020204" pitchFamily="34" charset="0"/>
                <a:cs typeface="Arial" panose="020B0604020202020204" pitchFamily="34" charset="0"/>
              </a:rPr>
              <a:t>);</a:t>
            </a:r>
            <a:endParaRPr lang="en-IN"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35112387"/>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Specify The Classes for Mapper and Reducer</a:t>
            </a:r>
            <a:endParaRPr lang="en-IN"/>
          </a:p>
        </p:txBody>
      </p:sp>
      <p:sp>
        <p:nvSpPr>
          <p:cNvPr id="3" name="Rounded Rectangle 2"/>
          <p:cNvSpPr/>
          <p:nvPr/>
        </p:nvSpPr>
        <p:spPr bwMode="gray">
          <a:xfrm>
            <a:off x="554038" y="1307804"/>
            <a:ext cx="8154027" cy="4901609"/>
          </a:xfrm>
          <a:prstGeom prst="roundRect">
            <a:avLst>
              <a:gd name="adj" fmla="val 4303"/>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srgbClr val="666666"/>
                </a:solidFill>
              </a:rPr>
              <a:t>public class WordCount extends Configured implements Tool {</a:t>
            </a:r>
          </a:p>
          <a:p>
            <a:pPr marL="233363"/>
            <a:r>
              <a:rPr lang="en-IN" sz="1100">
                <a:solidFill>
                  <a:srgbClr val="666666"/>
                </a:solidFill>
              </a:rPr>
              <a:t>public int run(String[] args) throws Exception {</a:t>
            </a:r>
          </a:p>
          <a:p>
            <a:pPr marL="233363"/>
            <a:r>
              <a:rPr lang="en-IN" sz="1100">
                <a:solidFill>
                  <a:srgbClr val="666666"/>
                </a:solidFill>
              </a:rPr>
              <a:t>if (args.length != 2) {</a:t>
            </a:r>
          </a:p>
          <a:p>
            <a:pPr marL="233363"/>
            <a:r>
              <a:rPr lang="en-IN" sz="1100">
                <a:solidFill>
                  <a:srgbClr val="666666"/>
                </a:solidFill>
              </a:rPr>
              <a:t>System.out.printf(</a:t>
            </a:r>
          </a:p>
          <a:p>
            <a:pPr marL="233363"/>
            <a:r>
              <a:rPr lang="en-IN" sz="1100">
                <a:solidFill>
                  <a:srgbClr val="666666"/>
                </a:solidFill>
              </a:rPr>
              <a:t>"Usage: %s [generic options] &lt;input dir&gt; &lt;output dir&gt;\n", getClass().getSimpleName());</a:t>
            </a:r>
          </a:p>
          <a:p>
            <a:pPr marL="233363"/>
            <a:r>
              <a:rPr lang="en-IN" sz="1100">
                <a:solidFill>
                  <a:srgbClr val="666666"/>
                </a:solidFill>
              </a:rPr>
              <a:t>ToolRunner.printGenericCommandUsage(System.out);</a:t>
            </a:r>
          </a:p>
          <a:p>
            <a:pPr marL="233363"/>
            <a:r>
              <a:rPr lang="en-IN" sz="1100">
                <a:solidFill>
                  <a:srgbClr val="666666"/>
                </a:solidFill>
              </a:rPr>
              <a:t>return -1;</a:t>
            </a:r>
          </a:p>
          <a:p>
            <a:pPr marL="233363"/>
            <a:r>
              <a:rPr lang="en-IN" sz="1100">
                <a:solidFill>
                  <a:srgbClr val="666666"/>
                </a:solidFill>
              </a:rPr>
              <a:t>}</a:t>
            </a:r>
          </a:p>
          <a:p>
            <a:pPr marL="233363"/>
            <a:r>
              <a:rPr lang="en-IN" sz="1100">
                <a:solidFill>
                  <a:srgbClr val="666666"/>
                </a:solidFill>
              </a:rPr>
              <a:t>JobConf conf = new JobConf(getConf(), WordCount.class);</a:t>
            </a:r>
          </a:p>
          <a:p>
            <a:pPr marL="233363"/>
            <a:r>
              <a:rPr lang="en-IN" sz="1100">
                <a:solidFill>
                  <a:srgbClr val="666666"/>
                </a:solidFill>
              </a:rPr>
              <a:t>conf.setJobName(this.getClass().getName());</a:t>
            </a:r>
          </a:p>
          <a:p>
            <a:pPr marL="233363"/>
            <a:r>
              <a:rPr lang="en-IN" sz="1100">
                <a:solidFill>
                  <a:srgbClr val="666666"/>
                </a:solidFill>
              </a:rPr>
              <a:t>FileInputFormat.setInputPaths(conf, new Path(args[0]));</a:t>
            </a:r>
          </a:p>
          <a:p>
            <a:pPr marL="233363"/>
            <a:r>
              <a:rPr lang="en-IN" sz="1100">
                <a:solidFill>
                  <a:srgbClr val="666666"/>
                </a:solidFill>
              </a:rPr>
              <a:t>FileOutputFormat.setOutputPath(conf, new Path(args[1]));</a:t>
            </a:r>
          </a:p>
          <a:p>
            <a:pPr marL="233363"/>
            <a:r>
              <a:rPr lang="en-IN" sz="1100">
                <a:solidFill>
                  <a:srgbClr val="000000"/>
                </a:solidFill>
              </a:rPr>
              <a:t>conf.setMapperClass(WordMapper.class);</a:t>
            </a:r>
          </a:p>
          <a:p>
            <a:pPr marL="233363"/>
            <a:r>
              <a:rPr lang="en-IN" sz="1100">
                <a:solidFill>
                  <a:srgbClr val="000000"/>
                </a:solidFill>
              </a:rPr>
              <a:t>conf.setReducerClass(SumReducer.class);</a:t>
            </a:r>
          </a:p>
          <a:p>
            <a:pPr marL="233363"/>
            <a:r>
              <a:rPr lang="en-IN" sz="1100">
                <a:solidFill>
                  <a:srgbClr val="666666"/>
                </a:solidFill>
              </a:rPr>
              <a:t>conf.setMapOutputKeyClass(Text.class);</a:t>
            </a:r>
          </a:p>
          <a:p>
            <a:pPr marL="233363"/>
            <a:r>
              <a:rPr lang="en-IN" sz="1100">
                <a:solidFill>
                  <a:srgbClr val="666666"/>
                </a:solidFill>
              </a:rPr>
              <a:t>conf.setMapOutputValueClass(IntWritable.class);</a:t>
            </a:r>
          </a:p>
          <a:p>
            <a:pPr marL="233363"/>
            <a:r>
              <a:rPr lang="en-IN" sz="1100">
                <a:solidFill>
                  <a:srgbClr val="666666"/>
                </a:solidFill>
              </a:rPr>
              <a:t>conf.setOutputKeyClass(Text.class);</a:t>
            </a:r>
          </a:p>
          <a:p>
            <a:pPr marL="233363"/>
            <a:r>
              <a:rPr lang="en-IN" sz="1100">
                <a:solidFill>
                  <a:srgbClr val="666666"/>
                </a:solidFill>
              </a:rPr>
              <a:t>conf.setOutputValueClass(IntWritable.class);</a:t>
            </a:r>
          </a:p>
          <a:p>
            <a:pPr marL="233363"/>
            <a:r>
              <a:rPr lang="en-IN" sz="1100">
                <a:solidFill>
                  <a:srgbClr val="666666"/>
                </a:solidFill>
              </a:rPr>
              <a:t>JobClient.runJob(conf);</a:t>
            </a:r>
          </a:p>
          <a:p>
            <a:pPr marL="233363"/>
            <a:r>
              <a:rPr lang="en-IN" sz="1100">
                <a:solidFill>
                  <a:srgbClr val="666666"/>
                </a:solidFill>
              </a:rPr>
              <a:t>return 0;</a:t>
            </a:r>
          </a:p>
          <a:p>
            <a:pPr marL="233363"/>
            <a:r>
              <a:rPr lang="en-IN" sz="1100">
                <a:solidFill>
                  <a:srgbClr val="666666"/>
                </a:solidFill>
              </a:rPr>
              <a:t>}</a:t>
            </a:r>
          </a:p>
          <a:p>
            <a:pPr marL="233363"/>
            <a:r>
              <a:rPr lang="en-IN" sz="1100">
                <a:solidFill>
                  <a:srgbClr val="666666"/>
                </a:solidFill>
              </a:rPr>
              <a:t>public static void main(String[] args) throws Exception {</a:t>
            </a:r>
          </a:p>
          <a:p>
            <a:pPr marL="233363"/>
            <a:r>
              <a:rPr lang="en-IN" sz="1100">
                <a:solidFill>
                  <a:srgbClr val="666666"/>
                </a:solidFill>
              </a:rPr>
              <a:t>int exitCode = ToolRunner.run(new WordCount(), args);</a:t>
            </a:r>
          </a:p>
          <a:p>
            <a:pPr marL="233363"/>
            <a:r>
              <a:rPr lang="en-IN" sz="1100">
                <a:solidFill>
                  <a:srgbClr val="666666"/>
                </a:solidFill>
              </a:rPr>
              <a:t>System.exit(exitCode);</a:t>
            </a:r>
          </a:p>
          <a:p>
            <a:pPr marL="233363"/>
            <a:r>
              <a:rPr lang="en-IN" sz="1100">
                <a:solidFill>
                  <a:srgbClr val="666666"/>
                </a:solidFill>
              </a:rPr>
              <a:t>}</a:t>
            </a:r>
          </a:p>
          <a:p>
            <a:pPr marL="233363"/>
            <a:r>
              <a:rPr lang="en-IN" sz="1100">
                <a:solidFill>
                  <a:srgbClr val="666666"/>
                </a:solidFill>
              </a:rPr>
              <a:t>}</a:t>
            </a:r>
          </a:p>
        </p:txBody>
      </p:sp>
      <p:sp>
        <p:nvSpPr>
          <p:cNvPr id="4" name="Rounded Rectangle 3"/>
          <p:cNvSpPr/>
          <p:nvPr/>
        </p:nvSpPr>
        <p:spPr bwMode="gray">
          <a:xfrm>
            <a:off x="1414130" y="4136373"/>
            <a:ext cx="5932968" cy="749141"/>
          </a:xfrm>
          <a:prstGeom prst="roundRect">
            <a:avLst/>
          </a:prstGeom>
          <a:solidFill>
            <a:schemeClr val="bg1"/>
          </a:solidFill>
          <a:ln>
            <a:solidFill>
              <a:schemeClr val="bg1">
                <a:lumMod val="65000"/>
              </a:schemeClr>
            </a:solidFill>
          </a:ln>
        </p:spPr>
        <p:txBody>
          <a:bodyPr wrap="square" lIns="182880" tIns="91440" rIns="182880" bIns="91440">
            <a:spAutoFit/>
          </a:bodyPr>
          <a:lstStyle/>
          <a:p>
            <a:r>
              <a:rPr lang="en-IN" sz="1600">
                <a:solidFill>
                  <a:srgbClr val="666666"/>
                </a:solidFill>
              </a:rPr>
              <a:t>Give the JobConf object information about which classes </a:t>
            </a:r>
            <a:r>
              <a:rPr lang="en-IN" sz="1600" smtClean="0">
                <a:solidFill>
                  <a:srgbClr val="666666"/>
                </a:solidFill>
              </a:rPr>
              <a:t>are to </a:t>
            </a:r>
            <a:r>
              <a:rPr lang="en-IN" sz="1600">
                <a:solidFill>
                  <a:srgbClr val="666666"/>
                </a:solidFill>
              </a:rPr>
              <a:t>be instantiated as the Mapper and Reducer.</a:t>
            </a:r>
          </a:p>
        </p:txBody>
      </p:sp>
    </p:spTree>
    <p:extLst>
      <p:ext uri="{BB962C8B-B14F-4D97-AF65-F5344CB8AC3E}">
        <p14:creationId xmlns:p14="http://schemas.microsoft.com/office/powerpoint/2010/main" val="2329432279"/>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smtClean="0"/>
              <a:t>Specify The Intermediate Data Types</a:t>
            </a:r>
            <a:endParaRPr lang="en-IN"/>
          </a:p>
        </p:txBody>
      </p:sp>
      <p:sp>
        <p:nvSpPr>
          <p:cNvPr id="3" name="Rounded Rectangle 2"/>
          <p:cNvSpPr/>
          <p:nvPr/>
        </p:nvSpPr>
        <p:spPr bwMode="gray">
          <a:xfrm>
            <a:off x="554038" y="1307804"/>
            <a:ext cx="8154027" cy="4901609"/>
          </a:xfrm>
          <a:prstGeom prst="roundRect">
            <a:avLst>
              <a:gd name="adj" fmla="val 4519"/>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IN" sz="1100">
                <a:solidFill>
                  <a:prstClr val="white">
                    <a:lumMod val="75000"/>
                  </a:prstClr>
                </a:solidFill>
              </a:rPr>
              <a:t>public class WordCount extends Configured implements Tool {</a:t>
            </a:r>
          </a:p>
          <a:p>
            <a:pPr marL="233363"/>
            <a:r>
              <a:rPr lang="en-IN" sz="1100">
                <a:solidFill>
                  <a:prstClr val="white">
                    <a:lumMod val="75000"/>
                  </a:prstClr>
                </a:solidFill>
              </a:rPr>
              <a:t>public int run(String[] args) throws Exception {</a:t>
            </a:r>
          </a:p>
          <a:p>
            <a:pPr marL="233363"/>
            <a:r>
              <a:rPr lang="en-IN" sz="1100">
                <a:solidFill>
                  <a:prstClr val="white">
                    <a:lumMod val="75000"/>
                  </a:prstClr>
                </a:solidFill>
              </a:rPr>
              <a:t>if (args.length != 2) {</a:t>
            </a:r>
          </a:p>
          <a:p>
            <a:pPr marL="233363"/>
            <a:r>
              <a:rPr lang="en-IN" sz="1100">
                <a:solidFill>
                  <a:prstClr val="white">
                    <a:lumMod val="75000"/>
                  </a:prstClr>
                </a:solidFill>
              </a:rPr>
              <a:t>System.out.printf(</a:t>
            </a:r>
          </a:p>
          <a:p>
            <a:pPr marL="233363"/>
            <a:r>
              <a:rPr lang="en-IN" sz="1100">
                <a:solidFill>
                  <a:prstClr val="white">
                    <a:lumMod val="75000"/>
                  </a:prstClr>
                </a:solidFill>
              </a:rPr>
              <a:t>"Usage: %s [generic options] &lt;input dir&gt; &lt;output dir&gt;\n", getClass().getSimpleName());</a:t>
            </a:r>
          </a:p>
          <a:p>
            <a:pPr marL="233363"/>
            <a:r>
              <a:rPr lang="en-IN" sz="1100">
                <a:solidFill>
                  <a:prstClr val="white">
                    <a:lumMod val="75000"/>
                  </a:prstClr>
                </a:solidFill>
              </a:rPr>
              <a:t>ToolRunner.printGenericCommandUsage(System.out);</a:t>
            </a:r>
          </a:p>
          <a:p>
            <a:pPr marL="233363"/>
            <a:r>
              <a:rPr lang="en-IN" sz="1100">
                <a:solidFill>
                  <a:prstClr val="white">
                    <a:lumMod val="75000"/>
                  </a:prstClr>
                </a:solidFill>
              </a:rPr>
              <a:t>return -1;</a:t>
            </a:r>
          </a:p>
          <a:p>
            <a:pPr marL="233363"/>
            <a:r>
              <a:rPr lang="en-IN" sz="1100">
                <a:solidFill>
                  <a:prstClr val="white">
                    <a:lumMod val="75000"/>
                  </a:prstClr>
                </a:solidFill>
              </a:rPr>
              <a:t>}</a:t>
            </a:r>
          </a:p>
          <a:p>
            <a:pPr marL="233363"/>
            <a:r>
              <a:rPr lang="en-IN" sz="1100">
                <a:solidFill>
                  <a:prstClr val="white">
                    <a:lumMod val="75000"/>
                  </a:prstClr>
                </a:solidFill>
              </a:rPr>
              <a:t>JobConf conf = new JobConf(getConf(), WordCount.class);</a:t>
            </a:r>
          </a:p>
          <a:p>
            <a:pPr marL="233363"/>
            <a:r>
              <a:rPr lang="en-IN" sz="1100">
                <a:solidFill>
                  <a:prstClr val="white">
                    <a:lumMod val="75000"/>
                  </a:prstClr>
                </a:solidFill>
              </a:rPr>
              <a:t>conf.setJobName(this.getClass().getName());</a:t>
            </a:r>
          </a:p>
          <a:p>
            <a:pPr marL="233363"/>
            <a:r>
              <a:rPr lang="en-IN" sz="1100">
                <a:solidFill>
                  <a:prstClr val="white">
                    <a:lumMod val="75000"/>
                  </a:prstClr>
                </a:solidFill>
              </a:rPr>
              <a:t>FileInputFormat.setInputPaths(conf, new Path(args[0]));</a:t>
            </a:r>
          </a:p>
          <a:p>
            <a:pPr marL="233363"/>
            <a:r>
              <a:rPr lang="en-IN" sz="1100">
                <a:solidFill>
                  <a:prstClr val="white">
                    <a:lumMod val="75000"/>
                  </a:prstClr>
                </a:solidFill>
              </a:rPr>
              <a:t>FileOutputFormat.setOutputPath(conf, new Path(args[1]));</a:t>
            </a:r>
          </a:p>
          <a:p>
            <a:pPr marL="233363"/>
            <a:r>
              <a:rPr lang="en-IN" sz="1100">
                <a:solidFill>
                  <a:prstClr val="white">
                    <a:lumMod val="75000"/>
                  </a:prstClr>
                </a:solidFill>
              </a:rPr>
              <a:t>conf.setMapperClass(WordMapper.class);</a:t>
            </a:r>
          </a:p>
          <a:p>
            <a:pPr marL="233363"/>
            <a:r>
              <a:rPr lang="en-IN" sz="1100">
                <a:solidFill>
                  <a:prstClr val="white">
                    <a:lumMod val="75000"/>
                  </a:prstClr>
                </a:solidFill>
              </a:rPr>
              <a:t>conf.setReducerClass(SumReducer.class);</a:t>
            </a:r>
          </a:p>
          <a:p>
            <a:pPr marL="233363"/>
            <a:r>
              <a:rPr lang="en-IN" sz="1100">
                <a:solidFill>
                  <a:srgbClr val="000000"/>
                </a:solidFill>
              </a:rPr>
              <a:t>conf.setMapOutputKeyClass(Text.class);</a:t>
            </a:r>
          </a:p>
          <a:p>
            <a:pPr marL="233363"/>
            <a:r>
              <a:rPr lang="en-IN" sz="1100">
                <a:solidFill>
                  <a:srgbClr val="000000"/>
                </a:solidFill>
              </a:rPr>
              <a:t>conf.setMapOutputValueClass(IntWritable.class);</a:t>
            </a:r>
          </a:p>
          <a:p>
            <a:pPr marL="233363"/>
            <a:r>
              <a:rPr lang="en-IN" sz="1100">
                <a:solidFill>
                  <a:prstClr val="white">
                    <a:lumMod val="75000"/>
                  </a:prstClr>
                </a:solidFill>
              </a:rPr>
              <a:t>conf.setOutputKeyClass(Text.class);</a:t>
            </a:r>
          </a:p>
          <a:p>
            <a:pPr marL="233363"/>
            <a:r>
              <a:rPr lang="en-IN" sz="1100">
                <a:solidFill>
                  <a:prstClr val="white">
                    <a:lumMod val="75000"/>
                  </a:prstClr>
                </a:solidFill>
              </a:rPr>
              <a:t>conf.setOutputValueClass(IntWritable.class);</a:t>
            </a:r>
          </a:p>
          <a:p>
            <a:pPr marL="233363"/>
            <a:r>
              <a:rPr lang="en-IN" sz="1100">
                <a:solidFill>
                  <a:prstClr val="white">
                    <a:lumMod val="75000"/>
                  </a:prstClr>
                </a:solidFill>
              </a:rPr>
              <a:t>JobClient.runJob(conf);</a:t>
            </a:r>
          </a:p>
          <a:p>
            <a:pPr marL="233363"/>
            <a:r>
              <a:rPr lang="en-IN" sz="1100">
                <a:solidFill>
                  <a:prstClr val="white">
                    <a:lumMod val="75000"/>
                  </a:prstClr>
                </a:solidFill>
              </a:rPr>
              <a:t>return 0;</a:t>
            </a:r>
          </a:p>
          <a:p>
            <a:pPr marL="233363"/>
            <a:r>
              <a:rPr lang="en-IN" sz="1100">
                <a:solidFill>
                  <a:prstClr val="white">
                    <a:lumMod val="75000"/>
                  </a:prstClr>
                </a:solidFill>
              </a:rPr>
              <a:t>}</a:t>
            </a:r>
          </a:p>
          <a:p>
            <a:pPr marL="233363"/>
            <a:r>
              <a:rPr lang="en-IN" sz="1100">
                <a:solidFill>
                  <a:prstClr val="white">
                    <a:lumMod val="75000"/>
                  </a:prstClr>
                </a:solidFill>
              </a:rPr>
              <a:t>public static void main(String[] args) throws Exception {</a:t>
            </a:r>
          </a:p>
          <a:p>
            <a:pPr marL="233363"/>
            <a:r>
              <a:rPr lang="en-IN" sz="1100">
                <a:solidFill>
                  <a:prstClr val="white">
                    <a:lumMod val="75000"/>
                  </a:prstClr>
                </a:solidFill>
              </a:rPr>
              <a:t>int exitCode = ToolRunner.run(new WordCount(), args);</a:t>
            </a:r>
          </a:p>
          <a:p>
            <a:pPr marL="233363"/>
            <a:r>
              <a:rPr lang="en-IN" sz="1100">
                <a:solidFill>
                  <a:prstClr val="white">
                    <a:lumMod val="75000"/>
                  </a:prstClr>
                </a:solidFill>
              </a:rPr>
              <a:t>System.exit(exitCode);</a:t>
            </a:r>
          </a:p>
          <a:p>
            <a:pPr marL="233363"/>
            <a:r>
              <a:rPr lang="en-IN" sz="1100">
                <a:solidFill>
                  <a:prstClr val="white">
                    <a:lumMod val="75000"/>
                  </a:prstClr>
                </a:solidFill>
              </a:rPr>
              <a:t>}</a:t>
            </a:r>
          </a:p>
          <a:p>
            <a:pPr marL="233363"/>
            <a:r>
              <a:rPr lang="en-IN" sz="1100">
                <a:solidFill>
                  <a:prstClr val="white">
                    <a:lumMod val="75000"/>
                  </a:prstClr>
                </a:solidFill>
              </a:rPr>
              <a:t>}</a:t>
            </a:r>
          </a:p>
        </p:txBody>
      </p:sp>
      <p:sp>
        <p:nvSpPr>
          <p:cNvPr id="4" name="Rounded Rectangle 3"/>
          <p:cNvSpPr/>
          <p:nvPr/>
        </p:nvSpPr>
        <p:spPr bwMode="gray">
          <a:xfrm>
            <a:off x="1414130" y="4327767"/>
            <a:ext cx="5932968" cy="749141"/>
          </a:xfrm>
          <a:prstGeom prst="roundRect">
            <a:avLst/>
          </a:prstGeom>
          <a:solidFill>
            <a:schemeClr val="bg1"/>
          </a:solidFill>
          <a:ln>
            <a:solidFill>
              <a:schemeClr val="bg1">
                <a:lumMod val="65000"/>
              </a:schemeClr>
            </a:solidFill>
          </a:ln>
        </p:spPr>
        <p:txBody>
          <a:bodyPr wrap="square" lIns="182880" tIns="91440" rIns="182880" bIns="91440">
            <a:spAutoFit/>
          </a:bodyPr>
          <a:lstStyle/>
          <a:p>
            <a:r>
              <a:rPr lang="en-IN" sz="1600"/>
              <a:t>Specify the types of the intermediate output key and value produced by the Mapper.</a:t>
            </a:r>
          </a:p>
        </p:txBody>
      </p:sp>
    </p:spTree>
    <p:extLst>
      <p:ext uri="{BB962C8B-B14F-4D97-AF65-F5344CB8AC3E}">
        <p14:creationId xmlns:p14="http://schemas.microsoft.com/office/powerpoint/2010/main" val="401027360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oLxISd2cUmZtulHQe.7H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L.bKpDtIvkuUnHY5X9lL5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L.bKpDtIvkuUnHY5X9lL5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bKpDtIvkuUnHY5X9lL5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bKpDtIvkuUnHY5X9lL5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bKpDtIvkuUnHY5X9lL5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L.bKpDtIvkuUnHY5X9lL5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L.bKpDtIvkuUnHY5X9lL5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p9B1tV.xkSyu3jO_J1LL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Sm_ubjzFkCHIdGtxkHIi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hEm7JkkUKrPWzlaPG5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K5F4XrY0kqzHVM3bX3wy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D_tz3yS5zU.G0GTjha7ps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p1NLAuPGk2pJ4HVy.qm_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2gd7yGonyUqbPYOVbW2d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M.9MkSkvsUKEQE7gRzuk_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e8lmPp6q2U.e2daFI9FK.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7Yw2CtDAFkupNzfYwxkUp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bqVhhFWiUi3mF_npGgib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unJ82z0FEOuPyEE.4_Qv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yxVWcieahUGccuvhWAMKj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Us6jIdsTLk6X709xmIq9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Sm_ubjzFkCHIdGtxkHIi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Us6jIdsTLk6X709xmIq9N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e8lmPp6q2U.e2daFI9FK.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8lmPp6q2U.e2daFI9FK.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Us6jIdsTLk6X709xmIq9N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Us6jIdsTLk6X709xmIq9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hEm7JkkUKrPWzlaPG5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K5F4XrY0kqzHVM3bX3wy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Sm_ubjzFkCHIdGtxkHI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Sm_ubjzFkCHIdGtxkHI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Sm_ubjzFkCHIdGtxkHI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dJUmE4QJkGExcvb.sAmr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eZpAr933ki.h6o8ii1e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QJhIscpUUGw4YMyWhyL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oLxISd2cUmZtulHQe.7H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Sm_ubjzFkCHIdGtxkHI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hEm7JkkUKrPWzlaPG5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K5F4XrY0kqzHVM3bX3wy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Sm_ubjzFkCHIdGtxkHI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LhEm7JkkUKrPWzlaPG5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K5F4XrY0kqzHVM3bX3w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dJUmE4QJkGExcvb.sAmr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qdJtPYk3U2Jhr71g3Wk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bRFZojpJUikytiyR1LK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tafhjBTPk27kgtwTiJS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Xv5PHVbZ0q9Vf6LoZ.Z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QRBd4x7_kS97vJKBUPBW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DGczxIN7U2hnKScr4WlB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H1gyWttiEunybfMmRng5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PXN2noZF0We7EJyEFF2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dJUmE4QJkGExcvb.sAmr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n68SN9I4E2i5DNClJSj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WrdTTKtUEOS8heW0TEO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QXqpEW66kyXwsxJoZhQM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1QORZsaJnECNEmXTDiAh4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Q.98_1MBkaF21pprIeA4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UyqCpEGAkiVE43pw9_Vs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xBFe.LoQ0GbNuv9tDCm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p9B1tV.xkSyu3jO_J1LL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R3Yglf_t0mR4l15tW1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dJUmE4QJkGExcvb.sAmr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8WnjYp7VE.z8TBVRKAuP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yzz2BQI2EqRwm2zIz42p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A8FMbJq7G06Iwf91w2C21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tQf88WI2AU2MkgWD.Ccqq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3L1w.YdTxUOoae5GOZw4m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idJF2F8w0yKrl.hy72GJ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eoyWgYsbECtJdS_wQH.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mTtHtd6ZU2R0_OiFLD1O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UWbo4xfWUqhDrKK.5unz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hzH9aSVPEyjEqDwdArD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dJUmE4QJkGExcvb.sAm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e.yQgHYpEuAUPIZJRh8Q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e.yQgHYpEuAUPIZJRh8Q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hzH9aSVPEyjEqDwdArD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3UlMhyHIUmPTm7LhZioe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wV8MA4M0.xZ1hdE0fMh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xzrhDRBC7UqTkx.gP0ZsS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bKpDtIvkuUnHY5X9lL5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hA0Dnbac06VtMVPKjaV6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FKZxtC5wEScKJ2es36m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dJUmE4QJkGExcvb.sAm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o3SP6qjES80wt.B2AhG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A8KTVvIfUWQoH9Zzmau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mEP2JM3nUufJVTrqvHqg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tKrmCXCP0GkmFWD0pjXJ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bfnJIJWZsUOBA0o_7NO4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eZpAr933ki.h6o8ii1eX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TmEP2JM3nUufJVTrqvHqg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tKrmCXCP0GkmFWD0pjXJ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bfnJIJWZsUOBA0o_7NO4U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dUrhtzbkHEyyfZSLJ7Hei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kNrjGZcgX0ez4YcwztX5d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9FeZ8TJxAUGsSyZ9nhvER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tTJyzYcKE.FlCkzlPK1i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ScXHrYBwVESfDqp67b3r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QJhIscpUUGw4YMyWhyLZ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OcyKFsyFTk6x3a30k9355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zrhDRBC7UqTkx.gP0ZsS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bKpDtIvkuUnHY5X9lL5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p9B1tV.xkSyu3jO_J1L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zrhDRBC7UqTkx.gP0ZsS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xzrhDRBC7UqTkx.gP0ZsS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bKpDtIvkuUnHY5X9lL5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bKpDtIvkuUnHY5X9lL5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bKpDtIvkuUnHY5X9lL5w"/>
</p:tagLst>
</file>

<file path=ppt/theme/theme1.xml><?xml version="1.0" encoding="utf-8"?>
<a:theme xmlns:a="http://schemas.openxmlformats.org/drawingml/2006/main" name="Opera Solutions Template_2014_V2">
  <a:themeElements>
    <a:clrScheme name="OS 2014">
      <a:dk1>
        <a:srgbClr val="666666"/>
      </a:dk1>
      <a:lt1>
        <a:sysClr val="window" lastClr="FFFFFF"/>
      </a:lt1>
      <a:dk2>
        <a:srgbClr val="0054A6"/>
      </a:dk2>
      <a:lt2>
        <a:srgbClr val="009EDB"/>
      </a:lt2>
      <a:accent1>
        <a:srgbClr val="009EDB"/>
      </a:accent1>
      <a:accent2>
        <a:srgbClr val="BEC531"/>
      </a:accent2>
      <a:accent3>
        <a:srgbClr val="F99D1C"/>
      </a:accent3>
      <a:accent4>
        <a:srgbClr val="E2195B"/>
      </a:accent4>
      <a:accent5>
        <a:srgbClr val="9E4C43"/>
      </a:accent5>
      <a:accent6>
        <a:srgbClr val="0055A6"/>
      </a:accent6>
      <a:hlink>
        <a:srgbClr val="005FA0"/>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bg1">
              <a:lumMod val="65000"/>
            </a:schemeClr>
          </a:solidFill>
        </a:ln>
        <a:effectLst/>
      </a:spPr>
      <a:bodyPr rtlCol="0" anchor="ctr"/>
      <a:lstStyle>
        <a:defPPr algn="ctr">
          <a:defRPr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9525" cap="rnd" cmpd="sng">
          <a:solidFill>
            <a:schemeClr val="bg1">
              <a:lumMod val="50000"/>
            </a:schemeClr>
          </a:solidFill>
          <a:prstDash val="solid"/>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a:lstStyle>
        <a:defPPr>
          <a:defRPr sz="1400" dirty="0"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3268</TotalTime>
  <Words>8249</Words>
  <Application>Microsoft Office PowerPoint</Application>
  <PresentationFormat>On-screen Show (4:3)</PresentationFormat>
  <Paragraphs>1407</Paragraphs>
  <Slides>121</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1</vt:i4>
      </vt:variant>
    </vt:vector>
  </HeadingPairs>
  <TitlesOfParts>
    <vt:vector size="123" baseType="lpstr">
      <vt:lpstr>Opera Solutions Template_2014_V2</vt:lpstr>
      <vt:lpstr>think-cell Slide</vt:lpstr>
      <vt:lpstr>Hadoop</vt:lpstr>
      <vt:lpstr>Prerequisites</vt:lpstr>
      <vt:lpstr>Introduction</vt:lpstr>
      <vt:lpstr>Big Data</vt:lpstr>
      <vt:lpstr>IBM BIGDATA DEFINITION</vt:lpstr>
      <vt:lpstr>WHAT IS BIGDATA</vt:lpstr>
      <vt:lpstr>THE 3 V’s of BIGDATA</vt:lpstr>
      <vt:lpstr>Traditional vs Distributed</vt:lpstr>
      <vt:lpstr>LIMITATIONS OF EXISTING TECHNOLOGIES</vt:lpstr>
      <vt:lpstr>Traditional vs Distributed</vt:lpstr>
      <vt:lpstr>WHY ALL THIS ?</vt:lpstr>
      <vt:lpstr>HADOOP ADVANTAGE</vt:lpstr>
      <vt:lpstr>Distributed Environment Requirements</vt:lpstr>
      <vt:lpstr>Distributed Environment Requirements</vt:lpstr>
      <vt:lpstr>Distributed Environment Requirements</vt:lpstr>
      <vt:lpstr>Hadoop</vt:lpstr>
      <vt:lpstr>HADOOP –WHY IS IT DIFFERENT ?</vt:lpstr>
      <vt:lpstr>Hadoop</vt:lpstr>
      <vt:lpstr>HDFS</vt:lpstr>
      <vt:lpstr>HDFS</vt:lpstr>
      <vt:lpstr>HDFS Building Blocks</vt:lpstr>
      <vt:lpstr>HDFS – Basic Concepts</vt:lpstr>
      <vt:lpstr>Hadoop Components</vt:lpstr>
      <vt:lpstr>HDFS – NameNode and DataNode</vt:lpstr>
      <vt:lpstr>HDFS – NameNode and DataNode</vt:lpstr>
      <vt:lpstr>HDFS - NameNode</vt:lpstr>
      <vt:lpstr>NameNode Concepts And Checkpointing</vt:lpstr>
      <vt:lpstr>HDFS – Points to Note</vt:lpstr>
      <vt:lpstr>hadoop fs Examples</vt:lpstr>
      <vt:lpstr>hadoop fs Examples (cont’d)</vt:lpstr>
      <vt:lpstr>What Is MapReduce?</vt:lpstr>
      <vt:lpstr>Features of MapReduce</vt:lpstr>
      <vt:lpstr>MapReduce: The Big Picture</vt:lpstr>
      <vt:lpstr>MapReduce: The JobTracker</vt:lpstr>
      <vt:lpstr>MapReduce: Terminology</vt:lpstr>
      <vt:lpstr>MapReduce: The Mapper</vt:lpstr>
      <vt:lpstr>MapReduce: The Mapper (cont’d)</vt:lpstr>
      <vt:lpstr>Example Mapper: Upper Case Mapper</vt:lpstr>
      <vt:lpstr>Example Mapper: Explode Mapper</vt:lpstr>
      <vt:lpstr>Example Mapper: Filter Mapper</vt:lpstr>
      <vt:lpstr>Example Mapper: Changing Keyspaces</vt:lpstr>
      <vt:lpstr>MapReduce: The Reducer</vt:lpstr>
      <vt:lpstr>Example Reducer: Sum Reducer</vt:lpstr>
      <vt:lpstr>Example Reducer: Identity Reducer</vt:lpstr>
      <vt:lpstr>MapReduce Example: Word Count</vt:lpstr>
      <vt:lpstr>MapReduce Example: Word Count (cont’d)</vt:lpstr>
      <vt:lpstr>MapReduce Example: Word Count (cont’d)</vt:lpstr>
      <vt:lpstr>MapReduce: Data Localization</vt:lpstr>
      <vt:lpstr>MapReduce: Is Shuffle and Sort a Bottleneck?</vt:lpstr>
      <vt:lpstr>MapReduce: Is a Slow Mapper a Bottleneck?</vt:lpstr>
      <vt:lpstr>MAP REDUCE</vt:lpstr>
      <vt:lpstr>MAP REDUCE – ADVANTAGE</vt:lpstr>
      <vt:lpstr>INPUT SPLITS</vt:lpstr>
      <vt:lpstr>MAP REDUCE</vt:lpstr>
      <vt:lpstr>MAP REDUCE FLOW</vt:lpstr>
      <vt:lpstr>MAPPER</vt:lpstr>
      <vt:lpstr>MAP REDUCE</vt:lpstr>
      <vt:lpstr>MAPREDUCE - COMBINER</vt:lpstr>
      <vt:lpstr>MAPREDUCE PARTITIONER</vt:lpstr>
      <vt:lpstr>MAPPER API</vt:lpstr>
      <vt:lpstr>PowerPoint Presentation</vt:lpstr>
      <vt:lpstr>MAP REDUCE EXAMPLE</vt:lpstr>
      <vt:lpstr>MAP AND REDUCE SIDE JOINS</vt:lpstr>
      <vt:lpstr>INPUT FORMAT</vt:lpstr>
      <vt:lpstr>OUTPUT FORMAT</vt:lpstr>
      <vt:lpstr>OUTPUT FORMAT</vt:lpstr>
      <vt:lpstr>Map Reduce</vt:lpstr>
      <vt:lpstr>How Hadoop Does It?</vt:lpstr>
      <vt:lpstr>Job Tracker and Task Tracker</vt:lpstr>
      <vt:lpstr>Job Tracker and Task Tracker</vt:lpstr>
      <vt:lpstr>Job Tracker and Task Tracker</vt:lpstr>
      <vt:lpstr>The MapReduce Flow: Introduction</vt:lpstr>
      <vt:lpstr>The MapReduce Flow: The Mapper</vt:lpstr>
      <vt:lpstr>The MapReduce Flow: Shuffle and Sort</vt:lpstr>
      <vt:lpstr>The MapReduce Flow: Reducers to Outputs</vt:lpstr>
      <vt:lpstr>Our MapReduce Program: WordCount</vt:lpstr>
      <vt:lpstr>Getting Data to the Mapper</vt:lpstr>
      <vt:lpstr>Getting Data to the Mapper (cont’d)</vt:lpstr>
      <vt:lpstr>Some Standard InputFormats</vt:lpstr>
      <vt:lpstr>Keys and Values are Objects</vt:lpstr>
      <vt:lpstr>What is Writable?</vt:lpstr>
      <vt:lpstr>What is WritableComparable?</vt:lpstr>
      <vt:lpstr>The Driver Code: Introduction</vt:lpstr>
      <vt:lpstr>The Driver: Complete Code</vt:lpstr>
      <vt:lpstr>The Driver: Complete Code (cont’d)</vt:lpstr>
      <vt:lpstr>The Driver: Import Statements</vt:lpstr>
      <vt:lpstr>The Driver: Main Code</vt:lpstr>
      <vt:lpstr>The Driver Class: Using ToolRunner</vt:lpstr>
      <vt:lpstr>The Driver Class: Using ToolRunner (cont’d)</vt:lpstr>
      <vt:lpstr>Sanity Checking The Job’s Invocation</vt:lpstr>
      <vt:lpstr>Configuring The Job With JobConf</vt:lpstr>
      <vt:lpstr>Creating a New JobConf Object</vt:lpstr>
      <vt:lpstr>Naming The Job</vt:lpstr>
      <vt:lpstr>Specifying Input and Output Directories</vt:lpstr>
      <vt:lpstr>Specifying the InputFormat</vt:lpstr>
      <vt:lpstr>Determining Which Files To Read</vt:lpstr>
      <vt:lpstr>Specifying Final Output With OutputFormat</vt:lpstr>
      <vt:lpstr>Specify The Classes for Mapper and Reducer</vt:lpstr>
      <vt:lpstr>Specify The Intermediate Data Types</vt:lpstr>
      <vt:lpstr>Specify The Final Output Data Types</vt:lpstr>
      <vt:lpstr>Running The Job</vt:lpstr>
      <vt:lpstr>Running The Job (cont’d)</vt:lpstr>
      <vt:lpstr>Reprise: Driver Code</vt:lpstr>
      <vt:lpstr>The Mapper: Complete Code</vt:lpstr>
      <vt:lpstr>The Mapper: import Statements</vt:lpstr>
      <vt:lpstr>The Mapper: Main Code</vt:lpstr>
      <vt:lpstr>The Mapper: Main Code (cont’d)</vt:lpstr>
      <vt:lpstr>The map Method</vt:lpstr>
      <vt:lpstr>The map Method: Processing The Line</vt:lpstr>
      <vt:lpstr>The map Method: Processing The Line (cont’d)</vt:lpstr>
      <vt:lpstr>Outputting Intermediate Data</vt:lpstr>
      <vt:lpstr>Reprise: The Map Method</vt:lpstr>
      <vt:lpstr>The Reporter Object</vt:lpstr>
      <vt:lpstr>The Reducer: Complete Code</vt:lpstr>
      <vt:lpstr>The Reducer: Import Statements</vt:lpstr>
      <vt:lpstr>The Reducer: Main Code</vt:lpstr>
      <vt:lpstr>The Reducer: Main Code (cont’d)</vt:lpstr>
      <vt:lpstr>The reduce Method</vt:lpstr>
      <vt:lpstr>Processing The Values</vt:lpstr>
      <vt:lpstr>Writing The Final Output</vt:lpstr>
      <vt:lpstr>Reprise: The Reduce Method</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doop</dc:title>
  <dc:creator>Alpesh Rathore</dc:creator>
  <cp:lastModifiedBy>Alpesh Rathore</cp:lastModifiedBy>
  <cp:revision>7</cp:revision>
  <dcterms:created xsi:type="dcterms:W3CDTF">2015-05-19T09:44:29Z</dcterms:created>
  <dcterms:modified xsi:type="dcterms:W3CDTF">2015-05-22T10:01:14Z</dcterms:modified>
</cp:coreProperties>
</file>